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5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21.xml" ContentType="application/vnd.openxmlformats-officedocument.presentationml.tags+xml"/>
  <Override PartName="/ppt/notesSlides/notesSlide6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7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8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9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2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13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14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19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notesSlides/notesSlide21.xml" ContentType="application/vnd.openxmlformats-officedocument.presentationml.notesSlid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24.xml" ContentType="application/vnd.openxmlformats-officedocument.presentationml.notesSl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3"/>
  </p:notesMasterIdLst>
  <p:sldIdLst>
    <p:sldId id="1188" r:id="rId2"/>
    <p:sldId id="1179" r:id="rId3"/>
    <p:sldId id="1243" r:id="rId4"/>
    <p:sldId id="1224" r:id="rId5"/>
    <p:sldId id="1181" r:id="rId6"/>
    <p:sldId id="1192" r:id="rId7"/>
    <p:sldId id="1209" r:id="rId8"/>
    <p:sldId id="1180" r:id="rId9"/>
    <p:sldId id="1231" r:id="rId10"/>
    <p:sldId id="1235" r:id="rId11"/>
    <p:sldId id="1236" r:id="rId12"/>
    <p:sldId id="1238" r:id="rId13"/>
    <p:sldId id="1239" r:id="rId14"/>
    <p:sldId id="1240" r:id="rId15"/>
    <p:sldId id="1241" r:id="rId16"/>
    <p:sldId id="1242" r:id="rId17"/>
    <p:sldId id="1184" r:id="rId18"/>
    <p:sldId id="1207" r:id="rId19"/>
    <p:sldId id="1208" r:id="rId20"/>
    <p:sldId id="1193" r:id="rId21"/>
    <p:sldId id="1201" r:id="rId22"/>
    <p:sldId id="1185" r:id="rId23"/>
    <p:sldId id="1253" r:id="rId24"/>
    <p:sldId id="1254" r:id="rId25"/>
    <p:sldId id="1257" r:id="rId26"/>
    <p:sldId id="1255" r:id="rId27"/>
    <p:sldId id="1258" r:id="rId28"/>
    <p:sldId id="1256" r:id="rId29"/>
    <p:sldId id="1262" r:id="rId30"/>
    <p:sldId id="1263" r:id="rId31"/>
    <p:sldId id="1264" r:id="rId32"/>
  </p:sldIdLst>
  <p:sldSz cx="12192000" cy="6858000"/>
  <p:notesSz cx="6858000" cy="9144000"/>
  <p:custDataLst>
    <p:tags r:id="rId34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ájek Ondřej RNDr. Ph.D." initials="MORP" lastIdx="1" clrIdx="0">
    <p:extLst>
      <p:ext uri="{19B8F6BF-5375-455C-9EA6-DF929625EA0E}">
        <p15:presenceInfo xmlns:p15="http://schemas.microsoft.com/office/powerpoint/2012/main" userId="S::majeko@mzcr.cz::9d61c4b0-e3bf-4878-8005-e21f10a403b2" providerId="AD"/>
      </p:ext>
    </p:extLst>
  </p:cmAuthor>
  <p:cmAuthor id="2" name="Kouřil Jan Mgr." initials="KJM" lastIdx="1" clrIdx="1">
    <p:extLst>
      <p:ext uri="{19B8F6BF-5375-455C-9EA6-DF929625EA0E}">
        <p15:presenceInfo xmlns:p15="http://schemas.microsoft.com/office/powerpoint/2012/main" userId="S::kourilj@mzcr.cz::dbc45f57-da0e-49ed-8558-d54a6c5b7b8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EAED"/>
    <a:srgbClr val="CDD1D9"/>
    <a:srgbClr val="F797B0"/>
    <a:srgbClr val="FF7C80"/>
    <a:srgbClr val="00CD61"/>
    <a:srgbClr val="00FF00"/>
    <a:srgbClr val="D31145"/>
    <a:srgbClr val="996633"/>
    <a:srgbClr val="F75A1C"/>
    <a:srgbClr val="9E0D3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27102A9-8310-4765-A935-A1911B00CA55}" styleName="Světlý styl 1 – zvýraznění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3B4B98B0-60AC-42C2-AFA5-B58CD77FA1E5}" styleName="Světlý styl 1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Světlý styl 1 – zvýraznění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1E4AEA4-8DFA-4A89-87EB-49C32662AFE0}" styleName="Střední styl 2 – zvýraznění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167" autoAdjust="0"/>
    <p:restoredTop sz="96327" autoAdjust="0"/>
  </p:normalViewPr>
  <p:slideViewPr>
    <p:cSldViewPr snapToGrid="0">
      <p:cViewPr varScale="1">
        <p:scale>
          <a:sx n="104" d="100"/>
          <a:sy n="104" d="100"/>
        </p:scale>
        <p:origin x="120" y="102"/>
      </p:cViewPr>
      <p:guideLst>
        <p:guide orient="horz" pos="123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21" Type="http://schemas.openxmlformats.org/officeDocument/2006/relationships/slide" Target="slides/slide20.xml"/><Relationship Id="rId34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commentAuthors" Target="commentAuthor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1640230244309003E-2"/>
          <c:y val="8.1965526849870296E-2"/>
          <c:w val="0.91393290618325784"/>
          <c:h val="0.709950417740298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19.12.2021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8ED-4368-B9BE-D456B2020E7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8ED-4368-B9BE-D456B2020E76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8D9-4FAE-ACD8-8FC9D76B16F6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561-42EC-8144-BD0DFC6360C1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561-42EC-8144-BD0DFC6360C1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154-4F68-8DDF-88A5914185CF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561-42EC-8144-BD0DFC6360C1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A154-4F68-8DDF-88A5914185CF}"/>
              </c:ext>
            </c:extLst>
          </c:dPt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7561-42EC-8144-BD0DFC6360C1}"/>
              </c:ext>
            </c:extLst>
          </c:dPt>
          <c:dPt>
            <c:idx val="2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A154-4F68-8DDF-88A5914185CF}"/>
              </c:ext>
            </c:extLst>
          </c:dPt>
          <c:dPt>
            <c:idx val="2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A154-4F68-8DDF-88A5914185CF}"/>
              </c:ext>
            </c:extLst>
          </c:dPt>
          <c:cat>
            <c:strRef>
              <c:f>List1!$A$2:$A$31</c:f>
              <c:strCache>
                <c:ptCount val="30"/>
                <c:pt idx="0">
                  <c:v>Dánsko</c:v>
                </c:pt>
                <c:pt idx="1">
                  <c:v>Kypr</c:v>
                </c:pt>
                <c:pt idx="2">
                  <c:v>Island</c:v>
                </c:pt>
                <c:pt idx="3">
                  <c:v>Malta</c:v>
                </c:pt>
                <c:pt idx="4">
                  <c:v>Francie</c:v>
                </c:pt>
                <c:pt idx="5">
                  <c:v>Řecko</c:v>
                </c:pt>
                <c:pt idx="6">
                  <c:v>Španělsko</c:v>
                </c:pt>
                <c:pt idx="7">
                  <c:v>Irsko</c:v>
                </c:pt>
                <c:pt idx="8">
                  <c:v>Portugalsko</c:v>
                </c:pt>
                <c:pt idx="9">
                  <c:v>Lichtenštejnsko</c:v>
                </c:pt>
                <c:pt idx="10">
                  <c:v>Lucembursko</c:v>
                </c:pt>
                <c:pt idx="11">
                  <c:v>Itálie</c:v>
                </c:pt>
                <c:pt idx="12">
                  <c:v>Chorvatsko</c:v>
                </c:pt>
                <c:pt idx="13">
                  <c:v>Nizozemsko</c:v>
                </c:pt>
                <c:pt idx="14">
                  <c:v>Belgie</c:v>
                </c:pt>
                <c:pt idx="15">
                  <c:v>Norsko</c:v>
                </c:pt>
                <c:pt idx="16">
                  <c:v>Slovinsko</c:v>
                </c:pt>
                <c:pt idx="17">
                  <c:v>Finsko</c:v>
                </c:pt>
                <c:pt idx="18">
                  <c:v>Švédsko</c:v>
                </c:pt>
                <c:pt idx="19">
                  <c:v>Estonsko</c:v>
                </c:pt>
                <c:pt idx="20">
                  <c:v>Litva</c:v>
                </c:pt>
                <c:pt idx="21">
                  <c:v>Slovensko</c:v>
                </c:pt>
                <c:pt idx="22">
                  <c:v>Česká republika</c:v>
                </c:pt>
                <c:pt idx="23">
                  <c:v>Lotyšsko</c:v>
                </c:pt>
                <c:pt idx="24">
                  <c:v>Německo</c:v>
                </c:pt>
                <c:pt idx="25">
                  <c:v>Polsko</c:v>
                </c:pt>
                <c:pt idx="26">
                  <c:v>Rakousko</c:v>
                </c:pt>
                <c:pt idx="27">
                  <c:v>Maďarsko</c:v>
                </c:pt>
                <c:pt idx="28">
                  <c:v>Bulharsko</c:v>
                </c:pt>
                <c:pt idx="29">
                  <c:v>Rumunsko</c:v>
                </c:pt>
              </c:strCache>
            </c:strRef>
          </c:cat>
          <c:val>
            <c:numRef>
              <c:f>List1!$B$2:$B$31</c:f>
              <c:numCache>
                <c:formatCode>General</c:formatCode>
                <c:ptCount val="30"/>
                <c:pt idx="0">
                  <c:v>1992.8168122247118</c:v>
                </c:pt>
                <c:pt idx="1">
                  <c:v>924.65695576038434</c:v>
                </c:pt>
                <c:pt idx="2">
                  <c:v>618.72827036200954</c:v>
                </c:pt>
                <c:pt idx="3">
                  <c:v>406.55778484309042</c:v>
                </c:pt>
                <c:pt idx="4">
                  <c:v>1046.5325898538413</c:v>
                </c:pt>
                <c:pt idx="5">
                  <c:v>625.4848480183681</c:v>
                </c:pt>
                <c:pt idx="6">
                  <c:v>700.88248242533155</c:v>
                </c:pt>
                <c:pt idx="7">
                  <c:v>1295.1914012456591</c:v>
                </c:pt>
                <c:pt idx="8">
                  <c:v>571.57653588430117</c:v>
                </c:pt>
                <c:pt idx="9">
                  <c:v>1884.0168271091954</c:v>
                </c:pt>
                <c:pt idx="10">
                  <c:v>865.82506532419325</c:v>
                </c:pt>
                <c:pt idx="11">
                  <c:v>494.34212640704072</c:v>
                </c:pt>
                <c:pt idx="12">
                  <c:v>1083.3714252624031</c:v>
                </c:pt>
                <c:pt idx="13">
                  <c:v>1311.6121506802926</c:v>
                </c:pt>
                <c:pt idx="14">
                  <c:v>1266.9799105050668</c:v>
                </c:pt>
                <c:pt idx="15">
                  <c:v>1215.1844965515186</c:v>
                </c:pt>
                <c:pt idx="16">
                  <c:v>872.05210650897163</c:v>
                </c:pt>
                <c:pt idx="17">
                  <c:v>399.83407211781747</c:v>
                </c:pt>
                <c:pt idx="18">
                  <c:v>418.19053798519673</c:v>
                </c:pt>
                <c:pt idx="19">
                  <c:v>543.12493227868674</c:v>
                </c:pt>
                <c:pt idx="20">
                  <c:v>821.80602629120756</c:v>
                </c:pt>
                <c:pt idx="21">
                  <c:v>1393.1984126417012</c:v>
                </c:pt>
                <c:pt idx="22">
                  <c:v>1491.658031713104</c:v>
                </c:pt>
                <c:pt idx="23">
                  <c:v>514.23853643833468</c:v>
                </c:pt>
                <c:pt idx="24">
                  <c:v>735.12706303847938</c:v>
                </c:pt>
                <c:pt idx="25">
                  <c:v>747.58672303683602</c:v>
                </c:pt>
                <c:pt idx="26">
                  <c:v>541.63187681832187</c:v>
                </c:pt>
                <c:pt idx="27">
                  <c:v>725.0300577530578</c:v>
                </c:pt>
                <c:pt idx="28">
                  <c:v>314.79618302974819</c:v>
                </c:pt>
                <c:pt idx="29">
                  <c:v>57.0184301818867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02.01.2022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invertIfNegative val="0"/>
          <c:cat>
            <c:strRef>
              <c:f>List1!$A$2:$A$31</c:f>
              <c:strCache>
                <c:ptCount val="30"/>
                <c:pt idx="0">
                  <c:v>Dánsko</c:v>
                </c:pt>
                <c:pt idx="1">
                  <c:v>Kypr</c:v>
                </c:pt>
                <c:pt idx="2">
                  <c:v>Island</c:v>
                </c:pt>
                <c:pt idx="3">
                  <c:v>Malta</c:v>
                </c:pt>
                <c:pt idx="4">
                  <c:v>Francie</c:v>
                </c:pt>
                <c:pt idx="5">
                  <c:v>Řecko</c:v>
                </c:pt>
                <c:pt idx="6">
                  <c:v>Španělsko</c:v>
                </c:pt>
                <c:pt idx="7">
                  <c:v>Irsko</c:v>
                </c:pt>
                <c:pt idx="8">
                  <c:v>Portugalsko</c:v>
                </c:pt>
                <c:pt idx="9">
                  <c:v>Lichtenštejnsko</c:v>
                </c:pt>
                <c:pt idx="10">
                  <c:v>Lucembursko</c:v>
                </c:pt>
                <c:pt idx="11">
                  <c:v>Itálie</c:v>
                </c:pt>
                <c:pt idx="12">
                  <c:v>Chorvatsko</c:v>
                </c:pt>
                <c:pt idx="13">
                  <c:v>Nizozemsko</c:v>
                </c:pt>
                <c:pt idx="14">
                  <c:v>Belgie</c:v>
                </c:pt>
                <c:pt idx="15">
                  <c:v>Norsko</c:v>
                </c:pt>
                <c:pt idx="16">
                  <c:v>Slovinsko</c:v>
                </c:pt>
                <c:pt idx="17">
                  <c:v>Finsko</c:v>
                </c:pt>
                <c:pt idx="18">
                  <c:v>Švédsko</c:v>
                </c:pt>
                <c:pt idx="19">
                  <c:v>Estonsko</c:v>
                </c:pt>
                <c:pt idx="20">
                  <c:v>Litva</c:v>
                </c:pt>
                <c:pt idx="21">
                  <c:v>Slovensko</c:v>
                </c:pt>
                <c:pt idx="22">
                  <c:v>Česká republika</c:v>
                </c:pt>
                <c:pt idx="23">
                  <c:v>Lotyšsko</c:v>
                </c:pt>
                <c:pt idx="24">
                  <c:v>Německo</c:v>
                </c:pt>
                <c:pt idx="25">
                  <c:v>Polsko</c:v>
                </c:pt>
                <c:pt idx="26">
                  <c:v>Rakousko</c:v>
                </c:pt>
                <c:pt idx="27">
                  <c:v>Maďarsko</c:v>
                </c:pt>
                <c:pt idx="28">
                  <c:v>Bulharsko</c:v>
                </c:pt>
                <c:pt idx="29">
                  <c:v>Rumunsko</c:v>
                </c:pt>
              </c:strCache>
            </c:strRef>
          </c:cat>
          <c:val>
            <c:numRef>
              <c:f>List1!$C$2:$C$31</c:f>
              <c:numCache>
                <c:formatCode>General</c:formatCode>
                <c:ptCount val="30"/>
                <c:pt idx="0">
                  <c:v>3350.3510275104795</c:v>
                </c:pt>
                <c:pt idx="1">
                  <c:v>2917.8889758503615</c:v>
                </c:pt>
                <c:pt idx="2">
                  <c:v>2793.4771265523132</c:v>
                </c:pt>
                <c:pt idx="3">
                  <c:v>2443.4278340497972</c:v>
                </c:pt>
                <c:pt idx="4">
                  <c:v>2436.752431097369</c:v>
                </c:pt>
                <c:pt idx="5">
                  <c:v>2283.2720611387813</c:v>
                </c:pt>
                <c:pt idx="6">
                  <c:v>2280.7276183816934</c:v>
                </c:pt>
                <c:pt idx="7">
                  <c:v>2238.3390674476882</c:v>
                </c:pt>
                <c:pt idx="8">
                  <c:v>2007.6226392443834</c:v>
                </c:pt>
                <c:pt idx="9">
                  <c:v>1450.4348723772162</c:v>
                </c:pt>
                <c:pt idx="10">
                  <c:v>1325.8096047327299</c:v>
                </c:pt>
                <c:pt idx="11">
                  <c:v>1269.5860304491398</c:v>
                </c:pt>
                <c:pt idx="12">
                  <c:v>1141.501146454124</c:v>
                </c:pt>
                <c:pt idx="13">
                  <c:v>1069.3154736857525</c:v>
                </c:pt>
                <c:pt idx="14">
                  <c:v>1067.5343069697044</c:v>
                </c:pt>
                <c:pt idx="15">
                  <c:v>892.02210307065752</c:v>
                </c:pt>
                <c:pt idx="16">
                  <c:v>878.15938175289284</c:v>
                </c:pt>
                <c:pt idx="17">
                  <c:v>850.1632130935343</c:v>
                </c:pt>
                <c:pt idx="18">
                  <c:v>847.36137350159856</c:v>
                </c:pt>
                <c:pt idx="19">
                  <c:v>807.7647752856335</c:v>
                </c:pt>
                <c:pt idx="20">
                  <c:v>774.09818581362811</c:v>
                </c:pt>
                <c:pt idx="21">
                  <c:v>729.55160371082286</c:v>
                </c:pt>
                <c:pt idx="22">
                  <c:v>714.85352590846094</c:v>
                </c:pt>
                <c:pt idx="23">
                  <c:v>518.01276422870774</c:v>
                </c:pt>
                <c:pt idx="24">
                  <c:v>477.36647899903124</c:v>
                </c:pt>
                <c:pt idx="25">
                  <c:v>435.78270356675557</c:v>
                </c:pt>
                <c:pt idx="26">
                  <c:v>426.08389289190592</c:v>
                </c:pt>
                <c:pt idx="27">
                  <c:v>346.79266936799189</c:v>
                </c:pt>
                <c:pt idx="28">
                  <c:v>343.04915124573438</c:v>
                </c:pt>
                <c:pt idx="29">
                  <c:v>71.2665707064232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C138-4612-AF06-5399DE4C08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4362064"/>
        <c:axId val="354362456"/>
      </c:barChart>
      <c:catAx>
        <c:axId val="3543620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2456"/>
        <c:crosses val="autoZero"/>
        <c:auto val="1"/>
        <c:lblAlgn val="ctr"/>
        <c:lblOffset val="100"/>
        <c:noMultiLvlLbl val="0"/>
      </c:catAx>
      <c:valAx>
        <c:axId val="354362456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20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7881422312393831"/>
          <c:h val="0.6760638962375074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I$2:$I$53</c:f>
              <c:numCache>
                <c:formatCode>General</c:formatCode>
                <c:ptCount val="52"/>
                <c:pt idx="0">
                  <c:v>3.349984899031802</c:v>
                </c:pt>
                <c:pt idx="1">
                  <c:v>2.9681213354115967</c:v>
                </c:pt>
                <c:pt idx="2">
                  <c:v>3.2371615734167416</c:v>
                </c:pt>
                <c:pt idx="3">
                  <c:v>2.5428641850163682</c:v>
                </c:pt>
                <c:pt idx="4">
                  <c:v>2.5775790544363866</c:v>
                </c:pt>
                <c:pt idx="5">
                  <c:v>2.4213621420463025</c:v>
                </c:pt>
                <c:pt idx="6">
                  <c:v>1.8225306445509806</c:v>
                </c:pt>
                <c:pt idx="7">
                  <c:v>1.4753819503507937</c:v>
                </c:pt>
                <c:pt idx="8">
                  <c:v>1.4840606677057984</c:v>
                </c:pt>
                <c:pt idx="9">
                  <c:v>1.4840606677057984</c:v>
                </c:pt>
                <c:pt idx="10">
                  <c:v>1.5448116891908312</c:v>
                </c:pt>
                <c:pt idx="11">
                  <c:v>1.6315988627408777</c:v>
                </c:pt>
                <c:pt idx="12">
                  <c:v>2.2217516428811952</c:v>
                </c:pt>
                <c:pt idx="13">
                  <c:v>2.4821131635313352</c:v>
                </c:pt>
                <c:pt idx="14">
                  <c:v>2.2738239470112234</c:v>
                </c:pt>
                <c:pt idx="15">
                  <c:v>2.3692898379162748</c:v>
                </c:pt>
                <c:pt idx="16">
                  <c:v>2.2043942081711858</c:v>
                </c:pt>
                <c:pt idx="17">
                  <c:v>2.2130729255261907</c:v>
                </c:pt>
                <c:pt idx="18">
                  <c:v>1.2150204297006537</c:v>
                </c:pt>
                <c:pt idx="19">
                  <c:v>1.1195545387956023</c:v>
                </c:pt>
                <c:pt idx="20">
                  <c:v>0.85051430079045764</c:v>
                </c:pt>
                <c:pt idx="21">
                  <c:v>0.72901225782039214</c:v>
                </c:pt>
                <c:pt idx="22">
                  <c:v>0.43393586775023346</c:v>
                </c:pt>
                <c:pt idx="23">
                  <c:v>0.35582741155519143</c:v>
                </c:pt>
                <c:pt idx="24">
                  <c:v>0.19961049916510737</c:v>
                </c:pt>
                <c:pt idx="25">
                  <c:v>0.1735743471000934</c:v>
                </c:pt>
                <c:pt idx="26">
                  <c:v>8.6787173550046698E-2</c:v>
                </c:pt>
                <c:pt idx="27">
                  <c:v>6.0751021485032683E-2</c:v>
                </c:pt>
                <c:pt idx="28">
                  <c:v>9.5465890905051351E-2</c:v>
                </c:pt>
                <c:pt idx="29">
                  <c:v>0.18225306445509803</c:v>
                </c:pt>
                <c:pt idx="30">
                  <c:v>0.19961049916510737</c:v>
                </c:pt>
                <c:pt idx="31">
                  <c:v>0.1909317818101027</c:v>
                </c:pt>
                <c:pt idx="32">
                  <c:v>0.35582741155519143</c:v>
                </c:pt>
                <c:pt idx="33">
                  <c:v>0.2777189553601494</c:v>
                </c:pt>
                <c:pt idx="34">
                  <c:v>0.34714869420018679</c:v>
                </c:pt>
                <c:pt idx="35">
                  <c:v>0.41657843304022413</c:v>
                </c:pt>
                <c:pt idx="36">
                  <c:v>0.3384699768451821</c:v>
                </c:pt>
                <c:pt idx="37">
                  <c:v>0.46865073717025213</c:v>
                </c:pt>
                <c:pt idx="38">
                  <c:v>0.48600817188026146</c:v>
                </c:pt>
                <c:pt idx="39">
                  <c:v>0.53808047601028952</c:v>
                </c:pt>
                <c:pt idx="40">
                  <c:v>0.78976327930542489</c:v>
                </c:pt>
                <c:pt idx="41">
                  <c:v>0.93730147434050426</c:v>
                </c:pt>
                <c:pt idx="42">
                  <c:v>1.2931288858956957</c:v>
                </c:pt>
                <c:pt idx="43">
                  <c:v>1.3278437553157143</c:v>
                </c:pt>
                <c:pt idx="44">
                  <c:v>1.7010286015809153</c:v>
                </c:pt>
                <c:pt idx="45">
                  <c:v>2.256466512301214</c:v>
                </c:pt>
                <c:pt idx="46">
                  <c:v>2.5775790544363866</c:v>
                </c:pt>
                <c:pt idx="47">
                  <c:v>3.0375510742516338</c:v>
                </c:pt>
                <c:pt idx="48">
                  <c:v>2.6904023800514474</c:v>
                </c:pt>
                <c:pt idx="49">
                  <c:v>2.1696793387511675</c:v>
                </c:pt>
                <c:pt idx="50">
                  <c:v>1.8919603833910179</c:v>
                </c:pt>
                <c:pt idx="51">
                  <c:v>1.34520119002572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C$2:$C$53</c:f>
              <c:numCache>
                <c:formatCode>General</c:formatCode>
                <c:ptCount val="52"/>
                <c:pt idx="0">
                  <c:v>11.483140122643302</c:v>
                </c:pt>
                <c:pt idx="1">
                  <c:v>10.88467027911792</c:v>
                </c:pt>
                <c:pt idx="2">
                  <c:v>9.7344860485925722</c:v>
                </c:pt>
                <c:pt idx="3">
                  <c:v>9.1266651137621047</c:v>
                </c:pt>
                <c:pt idx="4">
                  <c:v>8.6030040006773945</c:v>
                </c:pt>
                <c:pt idx="5">
                  <c:v>8.8461323746095797</c:v>
                </c:pt>
                <c:pt idx="6">
                  <c:v>10.202040613846778</c:v>
                </c:pt>
                <c:pt idx="7">
                  <c:v>11.277416113931453</c:v>
                </c:pt>
                <c:pt idx="8">
                  <c:v>13.231794196694034</c:v>
                </c:pt>
                <c:pt idx="9">
                  <c:v>14.447436066354971</c:v>
                </c:pt>
                <c:pt idx="10">
                  <c:v>13.287900744524537</c:v>
                </c:pt>
                <c:pt idx="11">
                  <c:v>11.240011748711115</c:v>
                </c:pt>
                <c:pt idx="12">
                  <c:v>9.6596773181518998</c:v>
                </c:pt>
                <c:pt idx="13">
                  <c:v>7.3967132223215417</c:v>
                </c:pt>
                <c:pt idx="14">
                  <c:v>5.3207709525928655</c:v>
                </c:pt>
                <c:pt idx="15">
                  <c:v>3.9274583481353318</c:v>
                </c:pt>
                <c:pt idx="16">
                  <c:v>3.1232644958980971</c:v>
                </c:pt>
                <c:pt idx="17">
                  <c:v>2.3938793741015356</c:v>
                </c:pt>
                <c:pt idx="18">
                  <c:v>1.5616322479490485</c:v>
                </c:pt>
                <c:pt idx="19">
                  <c:v>0.99121567833891699</c:v>
                </c:pt>
                <c:pt idx="20">
                  <c:v>0.53301220438979502</c:v>
                </c:pt>
                <c:pt idx="21">
                  <c:v>0.34599037828811258</c:v>
                </c:pt>
                <c:pt idx="22">
                  <c:v>0.25247946523727133</c:v>
                </c:pt>
                <c:pt idx="23">
                  <c:v>0.1215641869660936</c:v>
                </c:pt>
                <c:pt idx="24">
                  <c:v>0.10286200435592535</c:v>
                </c:pt>
                <c:pt idx="25">
                  <c:v>6.5457639135588858E-2</c:v>
                </c:pt>
                <c:pt idx="26">
                  <c:v>2.8053273915252371E-2</c:v>
                </c:pt>
                <c:pt idx="27">
                  <c:v>2.8053273915252371E-2</c:v>
                </c:pt>
                <c:pt idx="28">
                  <c:v>2.8053273915252371E-2</c:v>
                </c:pt>
                <c:pt idx="29">
                  <c:v>3.7404365220336494E-2</c:v>
                </c:pt>
                <c:pt idx="30">
                  <c:v>3.7404365220336494E-2</c:v>
                </c:pt>
                <c:pt idx="31">
                  <c:v>4.6755456525420618E-2</c:v>
                </c:pt>
                <c:pt idx="32">
                  <c:v>8.4159821745757105E-2</c:v>
                </c:pt>
                <c:pt idx="33">
                  <c:v>7.4808730440672988E-2</c:v>
                </c:pt>
                <c:pt idx="34">
                  <c:v>1.8702182610168247E-2</c:v>
                </c:pt>
                <c:pt idx="35">
                  <c:v>5.6106547830504741E-2</c:v>
                </c:pt>
                <c:pt idx="36">
                  <c:v>0.14026636957626185</c:v>
                </c:pt>
                <c:pt idx="37">
                  <c:v>0.1215641869660936</c:v>
                </c:pt>
                <c:pt idx="38">
                  <c:v>0.14026636957626185</c:v>
                </c:pt>
                <c:pt idx="39">
                  <c:v>0.2431283739321872</c:v>
                </c:pt>
                <c:pt idx="40">
                  <c:v>0.4956078391694585</c:v>
                </c:pt>
                <c:pt idx="41">
                  <c:v>0.81354494354231877</c:v>
                </c:pt>
                <c:pt idx="42">
                  <c:v>1.5335789740337964</c:v>
                </c:pt>
                <c:pt idx="43">
                  <c:v>2.8520828480506575</c:v>
                </c:pt>
                <c:pt idx="44">
                  <c:v>4.3108530916437804</c:v>
                </c:pt>
                <c:pt idx="45">
                  <c:v>6.4148486352877088</c:v>
                </c:pt>
                <c:pt idx="46">
                  <c:v>7.1535848483893538</c:v>
                </c:pt>
                <c:pt idx="47">
                  <c:v>7.7520546919147382</c:v>
                </c:pt>
                <c:pt idx="48">
                  <c:v>7.4621708614571309</c:v>
                </c:pt>
                <c:pt idx="49">
                  <c:v>6.5177106396436342</c:v>
                </c:pt>
                <c:pt idx="50">
                  <c:v>4.8345142047284915</c:v>
                </c:pt>
                <c:pt idx="51">
                  <c:v>3.54406360462688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D$2:$D$53</c:f>
              <c:numCache>
                <c:formatCode>General</c:formatCode>
                <c:ptCount val="52"/>
                <c:pt idx="0">
                  <c:v>5.1173335510391116</c:v>
                </c:pt>
                <c:pt idx="1">
                  <c:v>5.1292170542055304</c:v>
                </c:pt>
                <c:pt idx="2">
                  <c:v>5.08465391733146</c:v>
                </c:pt>
                <c:pt idx="3">
                  <c:v>4.6984400644228472</c:v>
                </c:pt>
                <c:pt idx="4">
                  <c:v>4.5721778432796469</c:v>
                </c:pt>
                <c:pt idx="5">
                  <c:v>4.3285660283680611</c:v>
                </c:pt>
                <c:pt idx="6">
                  <c:v>3.7640996279631662</c:v>
                </c:pt>
                <c:pt idx="7">
                  <c:v>3.2337982991617253</c:v>
                </c:pt>
                <c:pt idx="8">
                  <c:v>3.0822836337898853</c:v>
                </c:pt>
                <c:pt idx="9">
                  <c:v>2.805992185170648</c:v>
                </c:pt>
                <c:pt idx="10">
                  <c:v>2.7213222251099136</c:v>
                </c:pt>
                <c:pt idx="11">
                  <c:v>2.7777688651504029</c:v>
                </c:pt>
                <c:pt idx="12">
                  <c:v>2.9619631642298949</c:v>
                </c:pt>
                <c:pt idx="13">
                  <c:v>3.1877497243918524</c:v>
                </c:pt>
                <c:pt idx="14">
                  <c:v>2.9530505368550806</c:v>
                </c:pt>
                <c:pt idx="15">
                  <c:v>3.1105069538101304</c:v>
                </c:pt>
                <c:pt idx="16">
                  <c:v>2.9560214126466855</c:v>
                </c:pt>
                <c:pt idx="17">
                  <c:v>2.3098559279726616</c:v>
                </c:pt>
                <c:pt idx="18">
                  <c:v>1.8152051086704775</c:v>
                </c:pt>
                <c:pt idx="19">
                  <c:v>1.4334475694492721</c:v>
                </c:pt>
                <c:pt idx="20">
                  <c:v>1.1794376892670695</c:v>
                </c:pt>
                <c:pt idx="21">
                  <c:v>0.888291861689808</c:v>
                </c:pt>
                <c:pt idx="22">
                  <c:v>0.56892271409230177</c:v>
                </c:pt>
                <c:pt idx="23">
                  <c:v>0.48722362982317224</c:v>
                </c:pt>
                <c:pt idx="24">
                  <c:v>0.36096140867997217</c:v>
                </c:pt>
                <c:pt idx="25">
                  <c:v>0.30154389284787797</c:v>
                </c:pt>
                <c:pt idx="26">
                  <c:v>0.24212637701578379</c:v>
                </c:pt>
                <c:pt idx="27">
                  <c:v>0.18122342328788726</c:v>
                </c:pt>
                <c:pt idx="28">
                  <c:v>0.21390305699553905</c:v>
                </c:pt>
                <c:pt idx="29">
                  <c:v>0.42929155188688051</c:v>
                </c:pt>
                <c:pt idx="30">
                  <c:v>0.52138870142662652</c:v>
                </c:pt>
                <c:pt idx="31">
                  <c:v>0.69072862154809478</c:v>
                </c:pt>
                <c:pt idx="32">
                  <c:v>1.2091464471831166</c:v>
                </c:pt>
                <c:pt idx="33">
                  <c:v>1.0947677292063354</c:v>
                </c:pt>
                <c:pt idx="34">
                  <c:v>1.0219812723120199</c:v>
                </c:pt>
                <c:pt idx="35">
                  <c:v>0.90611711643943627</c:v>
                </c:pt>
                <c:pt idx="36">
                  <c:v>0.72489369315154906</c:v>
                </c:pt>
                <c:pt idx="37">
                  <c:v>0.60308778569575594</c:v>
                </c:pt>
                <c:pt idx="38">
                  <c:v>0.48573819192736994</c:v>
                </c:pt>
                <c:pt idx="39">
                  <c:v>0.36541772236737918</c:v>
                </c:pt>
                <c:pt idx="40">
                  <c:v>0.30897108232688975</c:v>
                </c:pt>
                <c:pt idx="41">
                  <c:v>0.30005845495207562</c:v>
                </c:pt>
                <c:pt idx="42">
                  <c:v>0.30600020653528504</c:v>
                </c:pt>
                <c:pt idx="43">
                  <c:v>0.34907790551355328</c:v>
                </c:pt>
                <c:pt idx="44">
                  <c:v>0.36541772236737918</c:v>
                </c:pt>
                <c:pt idx="45">
                  <c:v>0.48276731613576518</c:v>
                </c:pt>
                <c:pt idx="46">
                  <c:v>0.6936994973396996</c:v>
                </c:pt>
                <c:pt idx="47">
                  <c:v>0.94770937752190232</c:v>
                </c:pt>
                <c:pt idx="48">
                  <c:v>1.3621465504507591</c:v>
                </c:pt>
                <c:pt idx="49">
                  <c:v>1.5805059211337051</c:v>
                </c:pt>
                <c:pt idx="50">
                  <c:v>1.7602439065257902</c:v>
                </c:pt>
                <c:pt idx="51">
                  <c:v>1.96077802245910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F$2:$F$53</c:f>
              <c:numCache>
                <c:formatCode>General</c:formatCode>
                <c:ptCount val="52"/>
                <c:pt idx="0">
                  <c:v>5.553181369317949</c:v>
                </c:pt>
                <c:pt idx="1">
                  <c:v>5.481083905887794</c:v>
                </c:pt>
                <c:pt idx="2">
                  <c:v>5.2564080896170795</c:v>
                </c:pt>
                <c:pt idx="3">
                  <c:v>4.7450191048217976</c:v>
                </c:pt>
                <c:pt idx="4">
                  <c:v>4.3040508982606198</c:v>
                </c:pt>
                <c:pt idx="5">
                  <c:v>3.5596026712143738</c:v>
                </c:pt>
                <c:pt idx="6">
                  <c:v>3.484151837392119</c:v>
                </c:pt>
                <c:pt idx="7">
                  <c:v>3.412054373961964</c:v>
                </c:pt>
                <c:pt idx="8">
                  <c:v>3.775895061504837</c:v>
                </c:pt>
                <c:pt idx="9">
                  <c:v>4.1481191750279605</c:v>
                </c:pt>
                <c:pt idx="10">
                  <c:v>4.7668160123704491</c:v>
                </c:pt>
                <c:pt idx="11">
                  <c:v>5.0065819954056145</c:v>
                </c:pt>
                <c:pt idx="12">
                  <c:v>5.1574836630501242</c:v>
                </c:pt>
                <c:pt idx="13">
                  <c:v>4.912687624426809</c:v>
                </c:pt>
                <c:pt idx="14">
                  <c:v>4.0911118783622564</c:v>
                </c:pt>
                <c:pt idx="15">
                  <c:v>3.651820356997129</c:v>
                </c:pt>
                <c:pt idx="16">
                  <c:v>2.9660561118126365</c:v>
                </c:pt>
                <c:pt idx="17">
                  <c:v>2.4110733119200516</c:v>
                </c:pt>
                <c:pt idx="18">
                  <c:v>1.8980076419287193</c:v>
                </c:pt>
                <c:pt idx="19">
                  <c:v>1.3547616384084851</c:v>
                </c:pt>
                <c:pt idx="20">
                  <c:v>0.95571056174855995</c:v>
                </c:pt>
                <c:pt idx="21">
                  <c:v>0.68576424518449308</c:v>
                </c:pt>
                <c:pt idx="22">
                  <c:v>0.48120865126638024</c:v>
                </c:pt>
                <c:pt idx="23">
                  <c:v>0.34875052077842189</c:v>
                </c:pt>
                <c:pt idx="24">
                  <c:v>0.23473592744701474</c:v>
                </c:pt>
                <c:pt idx="25">
                  <c:v>0.17772863078131115</c:v>
                </c:pt>
                <c:pt idx="26">
                  <c:v>0.13245813048795832</c:v>
                </c:pt>
                <c:pt idx="27">
                  <c:v>0.11066122293930694</c:v>
                </c:pt>
                <c:pt idx="28">
                  <c:v>0.12072133411560758</c:v>
                </c:pt>
                <c:pt idx="29">
                  <c:v>0.15425503803660967</c:v>
                </c:pt>
                <c:pt idx="30">
                  <c:v>0.24144266823121516</c:v>
                </c:pt>
                <c:pt idx="31">
                  <c:v>0.39234433587572459</c:v>
                </c:pt>
                <c:pt idx="32">
                  <c:v>0.52144909597158273</c:v>
                </c:pt>
                <c:pt idx="33">
                  <c:v>0.61702015214643868</c:v>
                </c:pt>
                <c:pt idx="34">
                  <c:v>0.67402744881214238</c:v>
                </c:pt>
                <c:pt idx="35">
                  <c:v>0.6639673376358417</c:v>
                </c:pt>
                <c:pt idx="36">
                  <c:v>0.62540357812668923</c:v>
                </c:pt>
                <c:pt idx="37">
                  <c:v>0.57342633704913593</c:v>
                </c:pt>
                <c:pt idx="38">
                  <c:v>0.48120865126638024</c:v>
                </c:pt>
                <c:pt idx="39">
                  <c:v>0.39234433587572459</c:v>
                </c:pt>
                <c:pt idx="40">
                  <c:v>0.36216400234682272</c:v>
                </c:pt>
                <c:pt idx="41">
                  <c:v>0.38899096548362444</c:v>
                </c:pt>
                <c:pt idx="42">
                  <c:v>0.45270500293352844</c:v>
                </c:pt>
                <c:pt idx="43">
                  <c:v>0.49965218842293135</c:v>
                </c:pt>
                <c:pt idx="44">
                  <c:v>0.61869683734248881</c:v>
                </c:pt>
                <c:pt idx="45">
                  <c:v>0.72097463430154518</c:v>
                </c:pt>
                <c:pt idx="46">
                  <c:v>0.84504933880925304</c:v>
                </c:pt>
                <c:pt idx="47">
                  <c:v>0.923853543023608</c:v>
                </c:pt>
                <c:pt idx="48">
                  <c:v>1.1569127852745726</c:v>
                </c:pt>
                <c:pt idx="49">
                  <c:v>1.2960776565467313</c:v>
                </c:pt>
                <c:pt idx="50">
                  <c:v>1.5157234172292953</c:v>
                </c:pt>
                <c:pt idx="51">
                  <c:v>1.15355941488247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K$2:$K$53</c:f>
              <c:numCache>
                <c:formatCode>General</c:formatCode>
                <c:ptCount val="52"/>
                <c:pt idx="0">
                  <c:v>8.0249543324824568</c:v>
                </c:pt>
                <c:pt idx="1">
                  <c:v>7.1651377968593364</c:v>
                </c:pt>
                <c:pt idx="2">
                  <c:v>6.1313107718839177</c:v>
                </c:pt>
                <c:pt idx="3">
                  <c:v>5.425032903336354</c:v>
                </c:pt>
                <c:pt idx="4">
                  <c:v>5.2100787694305746</c:v>
                </c:pt>
                <c:pt idx="5">
                  <c:v>5.0770119246317575</c:v>
                </c:pt>
                <c:pt idx="6">
                  <c:v>5.5990433926886523</c:v>
                </c:pt>
                <c:pt idx="7">
                  <c:v>7.7997642874383057</c:v>
                </c:pt>
                <c:pt idx="8">
                  <c:v>9.7343514925903261</c:v>
                </c:pt>
                <c:pt idx="9">
                  <c:v>12.764181189547989</c:v>
                </c:pt>
                <c:pt idx="10">
                  <c:v>15.855426353335872</c:v>
                </c:pt>
                <c:pt idx="11">
                  <c:v>19.049030628507463</c:v>
                </c:pt>
                <c:pt idx="12">
                  <c:v>19.223041117859761</c:v>
                </c:pt>
                <c:pt idx="13">
                  <c:v>15.927077731304466</c:v>
                </c:pt>
                <c:pt idx="14">
                  <c:v>12.723237544994507</c:v>
                </c:pt>
                <c:pt idx="15">
                  <c:v>9.550105092099658</c:v>
                </c:pt>
                <c:pt idx="16">
                  <c:v>7.0730145966140023</c:v>
                </c:pt>
                <c:pt idx="17">
                  <c:v>5.2100787694305746</c:v>
                </c:pt>
                <c:pt idx="18">
                  <c:v>3.480209787045963</c:v>
                </c:pt>
                <c:pt idx="19">
                  <c:v>2.2723722727182465</c:v>
                </c:pt>
                <c:pt idx="20">
                  <c:v>1.2283093366044575</c:v>
                </c:pt>
                <c:pt idx="21">
                  <c:v>0.91099609131497261</c:v>
                </c:pt>
                <c:pt idx="22">
                  <c:v>0.52203146805689449</c:v>
                </c:pt>
                <c:pt idx="23">
                  <c:v>0.27636960073600297</c:v>
                </c:pt>
                <c:pt idx="24">
                  <c:v>0.25589777845926204</c:v>
                </c:pt>
                <c:pt idx="25">
                  <c:v>7.1651377968593361E-2</c:v>
                </c:pt>
                <c:pt idx="26">
                  <c:v>0.11259502252207527</c:v>
                </c:pt>
                <c:pt idx="27">
                  <c:v>7.1651377968593361E-2</c:v>
                </c:pt>
                <c:pt idx="28">
                  <c:v>2.0471822276740961E-2</c:v>
                </c:pt>
                <c:pt idx="29">
                  <c:v>5.1179555691852403E-2</c:v>
                </c:pt>
                <c:pt idx="30">
                  <c:v>7.1651377968593361E-2</c:v>
                </c:pt>
                <c:pt idx="31">
                  <c:v>4.0943644553481921E-2</c:v>
                </c:pt>
                <c:pt idx="32">
                  <c:v>0.13306684479881625</c:v>
                </c:pt>
                <c:pt idx="33">
                  <c:v>7.1651377968593361E-2</c:v>
                </c:pt>
                <c:pt idx="34">
                  <c:v>0.15353866707555719</c:v>
                </c:pt>
                <c:pt idx="35">
                  <c:v>0.32754915642785537</c:v>
                </c:pt>
                <c:pt idx="36">
                  <c:v>0.40943644553481923</c:v>
                </c:pt>
                <c:pt idx="37">
                  <c:v>0.46061600122667157</c:v>
                </c:pt>
                <c:pt idx="38">
                  <c:v>0.71651377968593355</c:v>
                </c:pt>
                <c:pt idx="39">
                  <c:v>0.64486240171734022</c:v>
                </c:pt>
                <c:pt idx="40">
                  <c:v>1.1976016031893462</c:v>
                </c:pt>
                <c:pt idx="41">
                  <c:v>2.0164744942589845</c:v>
                </c:pt>
                <c:pt idx="42">
                  <c:v>3.6849280098133725</c:v>
                </c:pt>
                <c:pt idx="43">
                  <c:v>6.2029621498525103</c:v>
                </c:pt>
                <c:pt idx="44">
                  <c:v>8.6288730896463139</c:v>
                </c:pt>
                <c:pt idx="45">
                  <c:v>9.9493056264961073</c:v>
                </c:pt>
                <c:pt idx="46">
                  <c:v>12.272857454906207</c:v>
                </c:pt>
                <c:pt idx="47">
                  <c:v>13.255504924189772</c:v>
                </c:pt>
                <c:pt idx="48">
                  <c:v>12.262621543767835</c:v>
                </c:pt>
                <c:pt idx="49">
                  <c:v>9.9800133599112169</c:v>
                </c:pt>
                <c:pt idx="50">
                  <c:v>8.4241548668789061</c:v>
                </c:pt>
                <c:pt idx="51">
                  <c:v>5.95730028253161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E$2:$E$53</c:f>
              <c:numCache>
                <c:formatCode>General</c:formatCode>
                <c:ptCount val="52"/>
                <c:pt idx="0">
                  <c:v>7.3490942788395222</c:v>
                </c:pt>
                <c:pt idx="1">
                  <c:v>7.1506975910109034</c:v>
                </c:pt>
                <c:pt idx="2">
                  <c:v>6.5579123358623628</c:v>
                </c:pt>
                <c:pt idx="3">
                  <c:v>6.0517001808572184</c:v>
                </c:pt>
                <c:pt idx="4">
                  <c:v>5.4769509882385519</c:v>
                </c:pt>
                <c:pt idx="5">
                  <c:v>4.0893765776068749</c:v>
                </c:pt>
                <c:pt idx="6">
                  <c:v>3.3991965847970111</c:v>
                </c:pt>
                <c:pt idx="7">
                  <c:v>2.6476939793855743</c:v>
                </c:pt>
                <c:pt idx="8">
                  <c:v>2.1991972244760287</c:v>
                </c:pt>
                <c:pt idx="9">
                  <c:v>1.7843677862889153</c:v>
                </c:pt>
                <c:pt idx="10">
                  <c:v>1.5583158025811552</c:v>
                </c:pt>
                <c:pt idx="11">
                  <c:v>1.4416825982213002</c:v>
                </c:pt>
                <c:pt idx="12">
                  <c:v>1.3226445855241287</c:v>
                </c:pt>
                <c:pt idx="13">
                  <c:v>1.7302595986992919</c:v>
                </c:pt>
                <c:pt idx="14">
                  <c:v>1.8685360780949964</c:v>
                </c:pt>
                <c:pt idx="15">
                  <c:v>1.9454899448891276</c:v>
                </c:pt>
                <c:pt idx="16">
                  <c:v>1.9863716866235097</c:v>
                </c:pt>
                <c:pt idx="17">
                  <c:v>1.8673336739263382</c:v>
                </c:pt>
                <c:pt idx="18">
                  <c:v>1.600399948484196</c:v>
                </c:pt>
                <c:pt idx="19">
                  <c:v>1.5186364650154316</c:v>
                </c:pt>
                <c:pt idx="20">
                  <c:v>1.2252498478628064</c:v>
                </c:pt>
                <c:pt idx="21">
                  <c:v>0.96432814326395566</c:v>
                </c:pt>
                <c:pt idx="22">
                  <c:v>0.72144250119497932</c:v>
                </c:pt>
                <c:pt idx="23">
                  <c:v>0.66252469693072269</c:v>
                </c:pt>
                <c:pt idx="24">
                  <c:v>0.44128232989759575</c:v>
                </c:pt>
                <c:pt idx="25">
                  <c:v>0.32344672136908242</c:v>
                </c:pt>
                <c:pt idx="26">
                  <c:v>0.24288564206897637</c:v>
                </c:pt>
                <c:pt idx="27">
                  <c:v>0.15631254192557886</c:v>
                </c:pt>
                <c:pt idx="28">
                  <c:v>0.197194283659961</c:v>
                </c:pt>
                <c:pt idx="29">
                  <c:v>0.15991975443155373</c:v>
                </c:pt>
                <c:pt idx="30">
                  <c:v>0.14909811691362906</c:v>
                </c:pt>
                <c:pt idx="31">
                  <c:v>0.10460916267327201</c:v>
                </c:pt>
                <c:pt idx="32">
                  <c:v>0.13106205438375459</c:v>
                </c:pt>
                <c:pt idx="33">
                  <c:v>0.1923846669853278</c:v>
                </c:pt>
                <c:pt idx="34">
                  <c:v>0.25731449209287599</c:v>
                </c:pt>
                <c:pt idx="35">
                  <c:v>0.31743470052579092</c:v>
                </c:pt>
                <c:pt idx="36">
                  <c:v>0.42444867153637944</c:v>
                </c:pt>
                <c:pt idx="37">
                  <c:v>0.51943860086038518</c:v>
                </c:pt>
                <c:pt idx="38">
                  <c:v>0.46893762577673653</c:v>
                </c:pt>
                <c:pt idx="39">
                  <c:v>0.50020013416185227</c:v>
                </c:pt>
                <c:pt idx="40">
                  <c:v>0.50380734666782723</c:v>
                </c:pt>
                <c:pt idx="41">
                  <c:v>0.5879756384739081</c:v>
                </c:pt>
                <c:pt idx="42">
                  <c:v>0.76352664709801987</c:v>
                </c:pt>
                <c:pt idx="43">
                  <c:v>0.96913775993858897</c:v>
                </c:pt>
                <c:pt idx="44">
                  <c:v>1.3911816231376517</c:v>
                </c:pt>
                <c:pt idx="45">
                  <c:v>1.6941874736395433</c:v>
                </c:pt>
                <c:pt idx="46">
                  <c:v>2.2028044369820035</c:v>
                </c:pt>
                <c:pt idx="47">
                  <c:v>2.603205025145217</c:v>
                </c:pt>
                <c:pt idx="48">
                  <c:v>3.1659301760773011</c:v>
                </c:pt>
                <c:pt idx="49">
                  <c:v>3.1238460301742608</c:v>
                </c:pt>
                <c:pt idx="50">
                  <c:v>2.3266520663538084</c:v>
                </c:pt>
                <c:pt idx="51">
                  <c:v>2.32665206635380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G$2:$G$53</c:f>
              <c:numCache>
                <c:formatCode>General</c:formatCode>
                <c:ptCount val="52"/>
                <c:pt idx="0">
                  <c:v>4.5899531727117804</c:v>
                </c:pt>
                <c:pt idx="1">
                  <c:v>3.7052813471828516</c:v>
                </c:pt>
                <c:pt idx="2">
                  <c:v>2.9986928112084472</c:v>
                </c:pt>
                <c:pt idx="3">
                  <c:v>2.5563568984439828</c:v>
                </c:pt>
                <c:pt idx="4">
                  <c:v>2.3150827642088205</c:v>
                </c:pt>
                <c:pt idx="5">
                  <c:v>2.3782736088894585</c:v>
                </c:pt>
                <c:pt idx="6">
                  <c:v>2.3265720086962092</c:v>
                </c:pt>
                <c:pt idx="7">
                  <c:v>1.8670022292006616</c:v>
                </c:pt>
                <c:pt idx="8">
                  <c:v>1.5395587613100841</c:v>
                </c:pt>
                <c:pt idx="9">
                  <c:v>1.355730849511865</c:v>
                </c:pt>
                <c:pt idx="10">
                  <c:v>1.1948814266884236</c:v>
                </c:pt>
                <c:pt idx="11">
                  <c:v>1.0684997373271479</c:v>
                </c:pt>
                <c:pt idx="12">
                  <c:v>0.91339493674740058</c:v>
                </c:pt>
                <c:pt idx="13">
                  <c:v>0.86743795879784591</c:v>
                </c:pt>
                <c:pt idx="14">
                  <c:v>0.85020409206676295</c:v>
                </c:pt>
                <c:pt idx="15">
                  <c:v>0.76977938065504203</c:v>
                </c:pt>
                <c:pt idx="16">
                  <c:v>0.68935466924332123</c:v>
                </c:pt>
                <c:pt idx="17">
                  <c:v>0.87318258104154034</c:v>
                </c:pt>
                <c:pt idx="18">
                  <c:v>0.74680089168026464</c:v>
                </c:pt>
                <c:pt idx="19">
                  <c:v>0.52850524641987962</c:v>
                </c:pt>
                <c:pt idx="20">
                  <c:v>0.46531440173924177</c:v>
                </c:pt>
                <c:pt idx="21">
                  <c:v>0.30446497891580021</c:v>
                </c:pt>
                <c:pt idx="22">
                  <c:v>0.1953171562856077</c:v>
                </c:pt>
                <c:pt idx="23">
                  <c:v>9.7658578142803848E-2</c:v>
                </c:pt>
                <c:pt idx="24">
                  <c:v>8.6169333655415153E-2</c:v>
                </c:pt>
                <c:pt idx="25">
                  <c:v>8.6169333655415153E-2</c:v>
                </c:pt>
                <c:pt idx="26">
                  <c:v>5.7446222436943431E-2</c:v>
                </c:pt>
                <c:pt idx="27">
                  <c:v>5.7446222436943431E-2</c:v>
                </c:pt>
                <c:pt idx="28">
                  <c:v>0.13787093384866425</c:v>
                </c:pt>
                <c:pt idx="29">
                  <c:v>0.16659404506713596</c:v>
                </c:pt>
                <c:pt idx="30">
                  <c:v>0.22978488974777372</c:v>
                </c:pt>
                <c:pt idx="31">
                  <c:v>0.22978488974777372</c:v>
                </c:pt>
                <c:pt idx="32">
                  <c:v>0.25276337872255111</c:v>
                </c:pt>
                <c:pt idx="33">
                  <c:v>0.25276337872255111</c:v>
                </c:pt>
                <c:pt idx="34">
                  <c:v>0.23552951199146807</c:v>
                </c:pt>
                <c:pt idx="35">
                  <c:v>0.183827911798219</c:v>
                </c:pt>
                <c:pt idx="36">
                  <c:v>0.25850800096624543</c:v>
                </c:pt>
                <c:pt idx="37">
                  <c:v>0.20680640077299639</c:v>
                </c:pt>
                <c:pt idx="38">
                  <c:v>0.183827911798219</c:v>
                </c:pt>
                <c:pt idx="39">
                  <c:v>0.12638168936127556</c:v>
                </c:pt>
                <c:pt idx="40">
                  <c:v>0.25276337872255111</c:v>
                </c:pt>
                <c:pt idx="41">
                  <c:v>0.3791450680838267</c:v>
                </c:pt>
                <c:pt idx="42">
                  <c:v>0.55722835763835132</c:v>
                </c:pt>
                <c:pt idx="43">
                  <c:v>0.86169333655415159</c:v>
                </c:pt>
                <c:pt idx="44">
                  <c:v>0.97658578142803831</c:v>
                </c:pt>
                <c:pt idx="45">
                  <c:v>1.3442416050244763</c:v>
                </c:pt>
                <c:pt idx="46">
                  <c:v>2.0106177852930203</c:v>
                </c:pt>
                <c:pt idx="47">
                  <c:v>2.0163624075367146</c:v>
                </c:pt>
                <c:pt idx="48">
                  <c:v>2.5448676539565942</c:v>
                </c:pt>
                <c:pt idx="49">
                  <c:v>2.0335962742677975</c:v>
                </c:pt>
                <c:pt idx="50">
                  <c:v>1.4189216941925029</c:v>
                </c:pt>
                <c:pt idx="51">
                  <c:v>1.41892169419250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J$2:$J$53</c:f>
              <c:numCache>
                <c:formatCode>General</c:formatCode>
                <c:ptCount val="52"/>
                <c:pt idx="0">
                  <c:v>5.4928932499270644</c:v>
                </c:pt>
                <c:pt idx="1">
                  <c:v>5.7378999992043864</c:v>
                </c:pt>
                <c:pt idx="2">
                  <c:v>5.3269209359004916</c:v>
                </c:pt>
                <c:pt idx="3">
                  <c:v>4.8211005502956965</c:v>
                </c:pt>
                <c:pt idx="4">
                  <c:v>5.0608383372229691</c:v>
                </c:pt>
                <c:pt idx="5">
                  <c:v>4.5471145080930997</c:v>
                </c:pt>
                <c:pt idx="6">
                  <c:v>3.6118736909592348</c:v>
                </c:pt>
                <c:pt idx="7">
                  <c:v>4.2415146917902034</c:v>
                </c:pt>
                <c:pt idx="8">
                  <c:v>4.0044113860379555</c:v>
                </c:pt>
                <c:pt idx="9">
                  <c:v>5.0028797513724195</c:v>
                </c:pt>
                <c:pt idx="10">
                  <c:v>5.6483276392535382</c:v>
                </c:pt>
                <c:pt idx="11">
                  <c:v>6.8259407244896995</c:v>
                </c:pt>
                <c:pt idx="12">
                  <c:v>8.1062985755518362</c:v>
                </c:pt>
                <c:pt idx="13">
                  <c:v>9.2180496314123737</c:v>
                </c:pt>
                <c:pt idx="14">
                  <c:v>9.5447252971154697</c:v>
                </c:pt>
                <c:pt idx="15">
                  <c:v>8.9282567021596257</c:v>
                </c:pt>
                <c:pt idx="16">
                  <c:v>7.020892331441547</c:v>
                </c:pt>
                <c:pt idx="17">
                  <c:v>5.160948621873918</c:v>
                </c:pt>
                <c:pt idx="18">
                  <c:v>4.4127559681668265</c:v>
                </c:pt>
                <c:pt idx="19">
                  <c:v>3.3431566111066884</c:v>
                </c:pt>
                <c:pt idx="20">
                  <c:v>2.1497366388203765</c:v>
                </c:pt>
                <c:pt idx="21">
                  <c:v>1.1012131311604378</c:v>
                </c:pt>
                <c:pt idx="22">
                  <c:v>1.1196544993856126</c:v>
                </c:pt>
                <c:pt idx="23">
                  <c:v>0.67706166198141748</c:v>
                </c:pt>
                <c:pt idx="24">
                  <c:v>0.40307561977882056</c:v>
                </c:pt>
                <c:pt idx="25">
                  <c:v>0.2792550045526469</c:v>
                </c:pt>
                <c:pt idx="26">
                  <c:v>0.20812401282697271</c:v>
                </c:pt>
                <c:pt idx="27">
                  <c:v>0.1448964646263734</c:v>
                </c:pt>
                <c:pt idx="28">
                  <c:v>7.113099172567422E-2</c:v>
                </c:pt>
                <c:pt idx="29">
                  <c:v>5.795858585054936E-2</c:v>
                </c:pt>
                <c:pt idx="30">
                  <c:v>6.8496510550649245E-2</c:v>
                </c:pt>
                <c:pt idx="31">
                  <c:v>4.4786179975424507E-2</c:v>
                </c:pt>
                <c:pt idx="32">
                  <c:v>4.4786179975424507E-2</c:v>
                </c:pt>
                <c:pt idx="33">
                  <c:v>6.3227548200599309E-2</c:v>
                </c:pt>
                <c:pt idx="34">
                  <c:v>9.7475803475923925E-2</c:v>
                </c:pt>
                <c:pt idx="35">
                  <c:v>0.12118613405114867</c:v>
                </c:pt>
                <c:pt idx="36">
                  <c:v>0.16333783285154821</c:v>
                </c:pt>
                <c:pt idx="37">
                  <c:v>0.22129641870209754</c:v>
                </c:pt>
                <c:pt idx="38">
                  <c:v>0.32404118452807146</c:v>
                </c:pt>
                <c:pt idx="39">
                  <c:v>0.45839972445434496</c:v>
                </c:pt>
                <c:pt idx="40">
                  <c:v>0.64808236905614292</c:v>
                </c:pt>
                <c:pt idx="41">
                  <c:v>0.87464775010829032</c:v>
                </c:pt>
                <c:pt idx="42">
                  <c:v>1.4911163450641336</c:v>
                </c:pt>
                <c:pt idx="43">
                  <c:v>1.973226400093703</c:v>
                </c:pt>
                <c:pt idx="44">
                  <c:v>2.9453499536779173</c:v>
                </c:pt>
                <c:pt idx="45">
                  <c:v>5.1978313583242679</c:v>
                </c:pt>
                <c:pt idx="46">
                  <c:v>5.8643550956055854</c:v>
                </c:pt>
                <c:pt idx="47">
                  <c:v>6.9655682267660222</c:v>
                </c:pt>
                <c:pt idx="48">
                  <c:v>7.400257620645144</c:v>
                </c:pt>
                <c:pt idx="49">
                  <c:v>7.9192504121250629</c:v>
                </c:pt>
                <c:pt idx="50">
                  <c:v>7.4792920558958924</c:v>
                </c:pt>
                <c:pt idx="51">
                  <c:v>8.60421551763155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B$2:$B$53</c:f>
              <c:numCache>
                <c:formatCode>General</c:formatCode>
                <c:ptCount val="52"/>
                <c:pt idx="0">
                  <c:v>3.8984103473472382</c:v>
                </c:pt>
                <c:pt idx="1">
                  <c:v>4.0444603027233601</c:v>
                </c:pt>
                <c:pt idx="2">
                  <c:v>3.336679749746772</c:v>
                </c:pt>
                <c:pt idx="3">
                  <c:v>3.2805066899867255</c:v>
                </c:pt>
                <c:pt idx="4">
                  <c:v>2.4716146294420533</c:v>
                </c:pt>
                <c:pt idx="5">
                  <c:v>2.0222301513616801</c:v>
                </c:pt>
                <c:pt idx="6">
                  <c:v>1.6964264047534094</c:v>
                </c:pt>
                <c:pt idx="7">
                  <c:v>1.651487956945372</c:v>
                </c:pt>
                <c:pt idx="8">
                  <c:v>1.4829687776652321</c:v>
                </c:pt>
                <c:pt idx="9">
                  <c:v>1.7863033003694837</c:v>
                </c:pt>
                <c:pt idx="10">
                  <c:v>2.0559339872177076</c:v>
                </c:pt>
                <c:pt idx="11">
                  <c:v>1.9885263155056518</c:v>
                </c:pt>
                <c:pt idx="12">
                  <c:v>2.4154415696820064</c:v>
                </c:pt>
                <c:pt idx="13">
                  <c:v>2.3255646740659319</c:v>
                </c:pt>
                <c:pt idx="14">
                  <c:v>2.2693916143058854</c:v>
                </c:pt>
                <c:pt idx="15">
                  <c:v>1.8087725242735027</c:v>
                </c:pt>
                <c:pt idx="16">
                  <c:v>1.7413648525614467</c:v>
                </c:pt>
                <c:pt idx="17">
                  <c:v>1.2695111505770544</c:v>
                </c:pt>
                <c:pt idx="18">
                  <c:v>0.87629973225672797</c:v>
                </c:pt>
                <c:pt idx="19">
                  <c:v>0.60666904540850397</c:v>
                </c:pt>
                <c:pt idx="20">
                  <c:v>0.50555753784042001</c:v>
                </c:pt>
                <c:pt idx="21">
                  <c:v>0.37074219441630801</c:v>
                </c:pt>
                <c:pt idx="22">
                  <c:v>0.24716146294420532</c:v>
                </c:pt>
                <c:pt idx="23">
                  <c:v>0.16851917928013999</c:v>
                </c:pt>
                <c:pt idx="24">
                  <c:v>0.134815343424112</c:v>
                </c:pt>
                <c:pt idx="25">
                  <c:v>0.10111150756808399</c:v>
                </c:pt>
                <c:pt idx="26">
                  <c:v>2.2469223904018665E-2</c:v>
                </c:pt>
                <c:pt idx="27">
                  <c:v>4.4938447808037331E-2</c:v>
                </c:pt>
                <c:pt idx="28">
                  <c:v>5.6173059760046662E-2</c:v>
                </c:pt>
                <c:pt idx="29">
                  <c:v>4.4938447808037331E-2</c:v>
                </c:pt>
                <c:pt idx="30">
                  <c:v>0.10111150756808399</c:v>
                </c:pt>
                <c:pt idx="31">
                  <c:v>8.9876895616074662E-2</c:v>
                </c:pt>
                <c:pt idx="32">
                  <c:v>7.8642283664065324E-2</c:v>
                </c:pt>
                <c:pt idx="33">
                  <c:v>0.30333452270425199</c:v>
                </c:pt>
                <c:pt idx="34">
                  <c:v>0.41568064222434531</c:v>
                </c:pt>
                <c:pt idx="35">
                  <c:v>0.42691525417635462</c:v>
                </c:pt>
                <c:pt idx="36">
                  <c:v>0.71901516492859729</c:v>
                </c:pt>
                <c:pt idx="37">
                  <c:v>0.75271900078462528</c:v>
                </c:pt>
                <c:pt idx="38">
                  <c:v>0.62913826931252259</c:v>
                </c:pt>
                <c:pt idx="39">
                  <c:v>0.68531132907256931</c:v>
                </c:pt>
                <c:pt idx="40">
                  <c:v>0.86506512030471872</c:v>
                </c:pt>
                <c:pt idx="41">
                  <c:v>0.82012667249668136</c:v>
                </c:pt>
                <c:pt idx="42">
                  <c:v>1.0223496876328493</c:v>
                </c:pt>
                <c:pt idx="43">
                  <c:v>1.6739571808493905</c:v>
                </c:pt>
                <c:pt idx="44">
                  <c:v>2.9547029433784546</c:v>
                </c:pt>
                <c:pt idx="45">
                  <c:v>3.4377912573148559</c:v>
                </c:pt>
                <c:pt idx="46">
                  <c:v>4.359029437379621</c:v>
                </c:pt>
                <c:pt idx="47">
                  <c:v>4.2354487059075181</c:v>
                </c:pt>
                <c:pt idx="48">
                  <c:v>3.35914897365079</c:v>
                </c:pt>
                <c:pt idx="49">
                  <c:v>2.3367992860179414</c:v>
                </c:pt>
                <c:pt idx="50">
                  <c:v>1.0897573593449053</c:v>
                </c:pt>
                <c:pt idx="51">
                  <c:v>0.910003568112755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L$2:$L$53</c:f>
              <c:numCache>
                <c:formatCode>General</c:formatCode>
                <c:ptCount val="52"/>
                <c:pt idx="0">
                  <c:v>9.142755795160495</c:v>
                </c:pt>
                <c:pt idx="1">
                  <c:v>9.8023534076370051</c:v>
                </c:pt>
                <c:pt idx="2">
                  <c:v>11.414703127024024</c:v>
                </c:pt>
                <c:pt idx="3">
                  <c:v>9.6008096927136268</c:v>
                </c:pt>
                <c:pt idx="4">
                  <c:v>10.956649229470894</c:v>
                </c:pt>
                <c:pt idx="5">
                  <c:v>12.477388169347291</c:v>
                </c:pt>
                <c:pt idx="6">
                  <c:v>11.139870788492148</c:v>
                </c:pt>
                <c:pt idx="7">
                  <c:v>13.1369857818238</c:v>
                </c:pt>
                <c:pt idx="8">
                  <c:v>11.891079180479283</c:v>
                </c:pt>
                <c:pt idx="9">
                  <c:v>11.579602530143152</c:v>
                </c:pt>
                <c:pt idx="10">
                  <c:v>9.5458432250072498</c:v>
                </c:pt>
                <c:pt idx="11">
                  <c:v>7.951815661522355</c:v>
                </c:pt>
                <c:pt idx="12">
                  <c:v>9.7473869399306281</c:v>
                </c:pt>
                <c:pt idx="13">
                  <c:v>10.260407305190135</c:v>
                </c:pt>
                <c:pt idx="14">
                  <c:v>9.6740983163221266</c:v>
                </c:pt>
                <c:pt idx="15">
                  <c:v>6.0096671358970788</c:v>
                </c:pt>
                <c:pt idx="16">
                  <c:v>5.1851701203014438</c:v>
                </c:pt>
                <c:pt idx="17">
                  <c:v>4.0675186102718035</c:v>
                </c:pt>
                <c:pt idx="18">
                  <c:v>3.1330886592634162</c:v>
                </c:pt>
                <c:pt idx="19">
                  <c:v>0.97107426281263776</c:v>
                </c:pt>
                <c:pt idx="20">
                  <c:v>0.9527521069105126</c:v>
                </c:pt>
                <c:pt idx="21">
                  <c:v>1.2825509131487669</c:v>
                </c:pt>
                <c:pt idx="22">
                  <c:v>0.42140958574888054</c:v>
                </c:pt>
                <c:pt idx="23">
                  <c:v>1.0260407305190136</c:v>
                </c:pt>
                <c:pt idx="24">
                  <c:v>0.14657724721700194</c:v>
                </c:pt>
                <c:pt idx="25">
                  <c:v>7.3288623608500969E-2</c:v>
                </c:pt>
                <c:pt idx="26" formatCode="0.00000">
                  <c:v>0.14657724721700194</c:v>
                </c:pt>
                <c:pt idx="27">
                  <c:v>0.16489940311912718</c:v>
                </c:pt>
                <c:pt idx="28">
                  <c:v>5.496646770637572E-2</c:v>
                </c:pt>
                <c:pt idx="29">
                  <c:v>0.1282550913148767</c:v>
                </c:pt>
                <c:pt idx="30">
                  <c:v>3.6644311804250485E-2</c:v>
                </c:pt>
                <c:pt idx="31">
                  <c:v>5.496646770637572E-2</c:v>
                </c:pt>
                <c:pt idx="32">
                  <c:v>1.8322155902125242E-2</c:v>
                </c:pt>
                <c:pt idx="33">
                  <c:v>1.8322155902125242E-2</c:v>
                </c:pt>
                <c:pt idx="34">
                  <c:v>7.3288623608500969E-2</c:v>
                </c:pt>
                <c:pt idx="35">
                  <c:v>0.18322155902125242</c:v>
                </c:pt>
                <c:pt idx="36">
                  <c:v>0.32979880623825436</c:v>
                </c:pt>
                <c:pt idx="37">
                  <c:v>0.4763760534552563</c:v>
                </c:pt>
                <c:pt idx="38">
                  <c:v>1.5390610957785205</c:v>
                </c:pt>
                <c:pt idx="39">
                  <c:v>1.135973665931765</c:v>
                </c:pt>
                <c:pt idx="40">
                  <c:v>2.0520814610380271</c:v>
                </c:pt>
                <c:pt idx="41">
                  <c:v>1.3008730690508921</c:v>
                </c:pt>
                <c:pt idx="42">
                  <c:v>2.5834239821996592</c:v>
                </c:pt>
                <c:pt idx="43">
                  <c:v>4.3606731047058078</c:v>
                </c:pt>
                <c:pt idx="44">
                  <c:v>6.0463114477013296</c:v>
                </c:pt>
                <c:pt idx="45">
                  <c:v>6.2478551626247079</c:v>
                </c:pt>
                <c:pt idx="46">
                  <c:v>7.9334935056202305</c:v>
                </c:pt>
                <c:pt idx="47">
                  <c:v>10.736783358645392</c:v>
                </c:pt>
                <c:pt idx="48">
                  <c:v>9.380943821888124</c:v>
                </c:pt>
                <c:pt idx="49">
                  <c:v>11.231481568002774</c:v>
                </c:pt>
                <c:pt idx="50">
                  <c:v>6.0279892917992042</c:v>
                </c:pt>
                <c:pt idx="51">
                  <c:v>6.02798929179920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53</c:f>
              <c:numCache>
                <c:formatCode>General</c:formatCode>
                <c:ptCount val="52"/>
                <c:pt idx="0">
                  <c:v>3.3085009841205899</c:v>
                </c:pt>
                <c:pt idx="1">
                  <c:v>4.871905025148199</c:v>
                </c:pt>
                <c:pt idx="2">
                  <c:v>7.1641933826008426</c:v>
                </c:pt>
                <c:pt idx="3">
                  <c:v>7.9944876908763165</c:v>
                </c:pt>
                <c:pt idx="4">
                  <c:v>6.8578506988859731</c:v>
                </c:pt>
                <c:pt idx="5">
                  <c:v>5.1423316700827044</c:v>
                </c:pt>
                <c:pt idx="6">
                  <c:v>3.545124298438282</c:v>
                </c:pt>
                <c:pt idx="7">
                  <c:v>2.7613095697609262</c:v>
                </c:pt>
                <c:pt idx="8">
                  <c:v>1.9458042186303084</c:v>
                </c:pt>
                <c:pt idx="9">
                  <c:v>1.4894592553033306</c:v>
                </c:pt>
                <c:pt idx="10">
                  <c:v>1.2232580266959268</c:v>
                </c:pt>
                <c:pt idx="11">
                  <c:v>1.0711430389202674</c:v>
                </c:pt>
                <c:pt idx="12">
                  <c:v>1.1176226185183857</c:v>
                </c:pt>
                <c:pt idx="13">
                  <c:v>1.1641021981165038</c:v>
                </c:pt>
                <c:pt idx="14">
                  <c:v>1.172553030770707</c:v>
                </c:pt>
                <c:pt idx="15">
                  <c:v>1.0901574123922251</c:v>
                </c:pt>
                <c:pt idx="16">
                  <c:v>0.90846451032685416</c:v>
                </c:pt>
                <c:pt idx="17">
                  <c:v>0.9295915919623623</c:v>
                </c:pt>
                <c:pt idx="18">
                  <c:v>0.71409535928017842</c:v>
                </c:pt>
                <c:pt idx="19">
                  <c:v>0.54930412252321414</c:v>
                </c:pt>
                <c:pt idx="20">
                  <c:v>0.38451288576624992</c:v>
                </c:pt>
                <c:pt idx="21">
                  <c:v>0.43310517352791877</c:v>
                </c:pt>
                <c:pt idx="22">
                  <c:v>0.29577914289711532</c:v>
                </c:pt>
                <c:pt idx="23">
                  <c:v>0.25352497962609882</c:v>
                </c:pt>
                <c:pt idx="24">
                  <c:v>0.23662331431769223</c:v>
                </c:pt>
                <c:pt idx="25">
                  <c:v>0.18169290206537081</c:v>
                </c:pt>
                <c:pt idx="26">
                  <c:v>0.17958019390182001</c:v>
                </c:pt>
                <c:pt idx="27">
                  <c:v>0.31901893269617437</c:v>
                </c:pt>
                <c:pt idx="28">
                  <c:v>0.73099702458858495</c:v>
                </c:pt>
                <c:pt idx="29">
                  <c:v>1.0838192879015724</c:v>
                </c:pt>
                <c:pt idx="30">
                  <c:v>1.3331188512005696</c:v>
                </c:pt>
                <c:pt idx="31">
                  <c:v>1.5697421655182617</c:v>
                </c:pt>
                <c:pt idx="32">
                  <c:v>1.4197398859061534</c:v>
                </c:pt>
                <c:pt idx="33">
                  <c:v>1.2380469838407826</c:v>
                </c:pt>
                <c:pt idx="34">
                  <c:v>1.0690303307567166</c:v>
                </c:pt>
                <c:pt idx="35">
                  <c:v>0.82606889194837196</c:v>
                </c:pt>
                <c:pt idx="36">
                  <c:v>0.70141911029887338</c:v>
                </c:pt>
                <c:pt idx="37">
                  <c:v>0.47958475312603693</c:v>
                </c:pt>
                <c:pt idx="38">
                  <c:v>0.36761122045784328</c:v>
                </c:pt>
                <c:pt idx="39">
                  <c:v>0.2852156020793612</c:v>
                </c:pt>
                <c:pt idx="40">
                  <c:v>0.24507414697189553</c:v>
                </c:pt>
                <c:pt idx="41">
                  <c:v>0.24718685513544633</c:v>
                </c:pt>
                <c:pt idx="42">
                  <c:v>0.21760894084573482</c:v>
                </c:pt>
                <c:pt idx="43">
                  <c:v>0.18591831839247247</c:v>
                </c:pt>
                <c:pt idx="44">
                  <c:v>0.30845539187842025</c:v>
                </c:pt>
                <c:pt idx="45">
                  <c:v>0.2894410184064628</c:v>
                </c:pt>
                <c:pt idx="46">
                  <c:v>0.31690622453262351</c:v>
                </c:pt>
                <c:pt idx="47">
                  <c:v>0.47113392047183367</c:v>
                </c:pt>
                <c:pt idx="48">
                  <c:v>0.56198037150451907</c:v>
                </c:pt>
                <c:pt idx="49">
                  <c:v>0.71832077560728003</c:v>
                </c:pt>
                <c:pt idx="50">
                  <c:v>0.72254619193438163</c:v>
                </c:pt>
                <c:pt idx="51">
                  <c:v>0.48803558578024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H$2:$H$53</c:f>
              <c:numCache>
                <c:formatCode>General</c:formatCode>
                <c:ptCount val="52"/>
                <c:pt idx="0">
                  <c:v>9.4137715205215748</c:v>
                </c:pt>
                <c:pt idx="1">
                  <c:v>11.504577962491638</c:v>
                </c:pt>
                <c:pt idx="2">
                  <c:v>12.75053991807183</c:v>
                </c:pt>
                <c:pt idx="3">
                  <c:v>12.076133623718873</c:v>
                </c:pt>
                <c:pt idx="4">
                  <c:v>9.756117199354339</c:v>
                </c:pt>
                <c:pt idx="5">
                  <c:v>6.4178795070451429</c:v>
                </c:pt>
                <c:pt idx="6">
                  <c:v>5.0161723070174267</c:v>
                </c:pt>
                <c:pt idx="7">
                  <c:v>3.3338298080323789</c:v>
                </c:pt>
                <c:pt idx="8">
                  <c:v>2.4272749417670738</c:v>
                </c:pt>
                <c:pt idx="9">
                  <c:v>1.49133418032299</c:v>
                </c:pt>
                <c:pt idx="10">
                  <c:v>0.93887935096196118</c:v>
                </c:pt>
                <c:pt idx="11">
                  <c:v>0.64208180965630213</c:v>
                </c:pt>
                <c:pt idx="12">
                  <c:v>0.3585079211810932</c:v>
                </c:pt>
                <c:pt idx="13">
                  <c:v>0.3878938163598713</c:v>
                </c:pt>
                <c:pt idx="14">
                  <c:v>0.24978010901961412</c:v>
                </c:pt>
                <c:pt idx="15">
                  <c:v>0.23214857191234722</c:v>
                </c:pt>
                <c:pt idx="16">
                  <c:v>0.16162242348327971</c:v>
                </c:pt>
                <c:pt idx="17">
                  <c:v>9.8442748848906733E-2</c:v>
                </c:pt>
                <c:pt idx="18">
                  <c:v>0.10872781216147907</c:v>
                </c:pt>
                <c:pt idx="19">
                  <c:v>6.1710379875434075E-2</c:v>
                </c:pt>
                <c:pt idx="20">
                  <c:v>8.8157685536334379E-2</c:v>
                </c:pt>
                <c:pt idx="21">
                  <c:v>8.6688390777395485E-2</c:v>
                </c:pt>
                <c:pt idx="22">
                  <c:v>9.4034864572090024E-2</c:v>
                </c:pt>
                <c:pt idx="23">
                  <c:v>0.10578922264360126</c:v>
                </c:pt>
                <c:pt idx="24">
                  <c:v>0.18219255010842439</c:v>
                </c:pt>
                <c:pt idx="25">
                  <c:v>0.19247761342099673</c:v>
                </c:pt>
                <c:pt idx="26">
                  <c:v>0.28504318323414785</c:v>
                </c:pt>
                <c:pt idx="27">
                  <c:v>0.41581041677971048</c:v>
                </c:pt>
                <c:pt idx="28">
                  <c:v>0.66118264152250794</c:v>
                </c:pt>
                <c:pt idx="29">
                  <c:v>0.82427435976472652</c:v>
                </c:pt>
                <c:pt idx="30">
                  <c:v>0.93594076144408334</c:v>
                </c:pt>
                <c:pt idx="31">
                  <c:v>0.87716897108652714</c:v>
                </c:pt>
                <c:pt idx="32">
                  <c:v>1.0094054993910289</c:v>
                </c:pt>
                <c:pt idx="33">
                  <c:v>1.1710279228743086</c:v>
                </c:pt>
                <c:pt idx="34">
                  <c:v>1.1636814490796139</c:v>
                </c:pt>
                <c:pt idx="35">
                  <c:v>1.4266852109296781</c:v>
                </c:pt>
                <c:pt idx="36">
                  <c:v>1.4737026432157232</c:v>
                </c:pt>
                <c:pt idx="37">
                  <c:v>1.4178694423760447</c:v>
                </c:pt>
                <c:pt idx="38">
                  <c:v>1.1533963857670415</c:v>
                </c:pt>
                <c:pt idx="39">
                  <c:v>1.1871901652226364</c:v>
                </c:pt>
                <c:pt idx="40">
                  <c:v>1.20922958660672</c:v>
                </c:pt>
                <c:pt idx="41">
                  <c:v>1.3943607262330222</c:v>
                </c:pt>
                <c:pt idx="42">
                  <c:v>1.6147549400738583</c:v>
                </c:pt>
                <c:pt idx="43">
                  <c:v>1.7234827522353373</c:v>
                </c:pt>
                <c:pt idx="44">
                  <c:v>1.6059391715202247</c:v>
                </c:pt>
                <c:pt idx="45">
                  <c:v>1.5119043069481348</c:v>
                </c:pt>
                <c:pt idx="46">
                  <c:v>1.2459619555801928</c:v>
                </c:pt>
                <c:pt idx="47">
                  <c:v>1.2195146499192924</c:v>
                </c:pt>
                <c:pt idx="48">
                  <c:v>1.2253918289550481</c:v>
                </c:pt>
                <c:pt idx="49">
                  <c:v>1.14458061721340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00479224"/>
        <c:axId val="400485496"/>
      </c:lineChart>
      <c:catAx>
        <c:axId val="400479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0485496"/>
        <c:crosses val="autoZero"/>
        <c:auto val="1"/>
        <c:lblAlgn val="ctr"/>
        <c:lblOffset val="100"/>
        <c:tickLblSkip val="1"/>
        <c:noMultiLvlLbl val="1"/>
      </c:catAx>
      <c:valAx>
        <c:axId val="400485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04792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4275707643454352"/>
          <c:y val="1.4875792985185116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4.725794487389709E-2"/>
          <c:w val="0.91393290618325784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mrtno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C7-4F71-B6A6-584BFB277F2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C7-4F71-B6A6-584BFB277F2C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C7-4F71-B6A6-584BFB277F2C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C7-4F71-B6A6-584BFB277F2C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8C7-4F71-B6A6-584BFB277F2C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8C7-4F71-B6A6-584BFB277F2C}"/>
              </c:ext>
            </c:extLst>
          </c:dPt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4F9A-47BA-ACF0-8C3946271496}"/>
              </c:ext>
            </c:extLst>
          </c:dPt>
          <c:dPt>
            <c:idx val="2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78C7-4F71-B6A6-584BFB277F2C}"/>
              </c:ext>
            </c:extLst>
          </c:dPt>
          <c:dPt>
            <c:idx val="2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EDBA-4548-9ED7-7A1AACB2C2AF}"/>
              </c:ext>
            </c:extLst>
          </c:dPt>
          <c:dPt>
            <c:idx val="2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EDBA-4548-9ED7-7A1AACB2C2AF}"/>
              </c:ext>
            </c:extLst>
          </c:dPt>
          <c:cat>
            <c:strRef>
              <c:f>List1!$A$2:$A$31</c:f>
              <c:strCache>
                <c:ptCount val="30"/>
                <c:pt idx="0">
                  <c:v>Bulharsko</c:v>
                </c:pt>
                <c:pt idx="1">
                  <c:v>Rumunsko</c:v>
                </c:pt>
                <c:pt idx="2">
                  <c:v>Maďarsko</c:v>
                </c:pt>
                <c:pt idx="3">
                  <c:v>Polsko</c:v>
                </c:pt>
                <c:pt idx="4">
                  <c:v>Itálie</c:v>
                </c:pt>
                <c:pt idx="5">
                  <c:v>Lotyšsko</c:v>
                </c:pt>
                <c:pt idx="6">
                  <c:v>Chorvatsko</c:v>
                </c:pt>
                <c:pt idx="7">
                  <c:v>Řecko</c:v>
                </c:pt>
                <c:pt idx="8">
                  <c:v>Německo</c:v>
                </c:pt>
                <c:pt idx="9">
                  <c:v>Litva</c:v>
                </c:pt>
                <c:pt idx="10">
                  <c:v>Česká republika</c:v>
                </c:pt>
                <c:pt idx="11">
                  <c:v>Slovensko</c:v>
                </c:pt>
                <c:pt idx="12">
                  <c:v>Španělsko</c:v>
                </c:pt>
                <c:pt idx="13">
                  <c:v>Portugalsko</c:v>
                </c:pt>
                <c:pt idx="14">
                  <c:v>Belgie</c:v>
                </c:pt>
                <c:pt idx="15">
                  <c:v>Slovinsko</c:v>
                </c:pt>
                <c:pt idx="16">
                  <c:v>Francie</c:v>
                </c:pt>
                <c:pt idx="17">
                  <c:v>Švédsko</c:v>
                </c:pt>
                <c:pt idx="18">
                  <c:v>Lichtenštejnsko</c:v>
                </c:pt>
                <c:pt idx="19">
                  <c:v>Rakousko</c:v>
                </c:pt>
                <c:pt idx="20">
                  <c:v>Malta</c:v>
                </c:pt>
                <c:pt idx="21">
                  <c:v>Lucembursko</c:v>
                </c:pt>
                <c:pt idx="22">
                  <c:v>Estonsko</c:v>
                </c:pt>
                <c:pt idx="23">
                  <c:v>Irsko</c:v>
                </c:pt>
                <c:pt idx="24">
                  <c:v>Nizozemsko</c:v>
                </c:pt>
                <c:pt idx="25">
                  <c:v>Finsko</c:v>
                </c:pt>
                <c:pt idx="26">
                  <c:v>Kypr</c:v>
                </c:pt>
                <c:pt idx="27">
                  <c:v>Dánsko</c:v>
                </c:pt>
                <c:pt idx="28">
                  <c:v>Norsko</c:v>
                </c:pt>
                <c:pt idx="29">
                  <c:v>Island</c:v>
                </c:pt>
              </c:strCache>
            </c:strRef>
          </c:cat>
          <c:val>
            <c:numRef>
              <c:f>List1!$B$2:$B$31</c:f>
              <c:numCache>
                <c:formatCode>General</c:formatCode>
                <c:ptCount val="30"/>
                <c:pt idx="0">
                  <c:v>4.1410936347208709E-2</c:v>
                </c:pt>
                <c:pt idx="1">
                  <c:v>3.1733367162079758E-2</c:v>
                </c:pt>
                <c:pt idx="2">
                  <c:v>3.0320962070279421E-2</c:v>
                </c:pt>
                <c:pt idx="3">
                  <c:v>2.3863427946082594E-2</c:v>
                </c:pt>
                <c:pt idx="4">
                  <c:v>2.23144366181251E-2</c:v>
                </c:pt>
                <c:pt idx="5">
                  <c:v>1.7641389218790045E-2</c:v>
                </c:pt>
                <c:pt idx="6">
                  <c:v>1.7523620117054956E-2</c:v>
                </c:pt>
                <c:pt idx="7">
                  <c:v>1.636485360349816E-2</c:v>
                </c:pt>
                <c:pt idx="8">
                  <c:v>1.5548297718963223E-2</c:v>
                </c:pt>
                <c:pt idx="9">
                  <c:v>1.4647333207689408E-2</c:v>
                </c:pt>
                <c:pt idx="10">
                  <c:v>1.4615141191258212E-2</c:v>
                </c:pt>
                <c:pt idx="11">
                  <c:v>1.3565055215358484E-2</c:v>
                </c:pt>
                <c:pt idx="12">
                  <c:v>1.3447860315124394E-2</c:v>
                </c:pt>
                <c:pt idx="13">
                  <c:v>1.324598410091541E-2</c:v>
                </c:pt>
                <c:pt idx="14">
                  <c:v>1.312131021769276E-2</c:v>
                </c:pt>
                <c:pt idx="15">
                  <c:v>1.2988568434335332E-2</c:v>
                </c:pt>
                <c:pt idx="16">
                  <c:v>1.2519395192632026E-2</c:v>
                </c:pt>
                <c:pt idx="17">
                  <c:v>1.1372633700424675E-2</c:v>
                </c:pt>
                <c:pt idx="18">
                  <c:v>1.0900929785187561E-2</c:v>
                </c:pt>
                <c:pt idx="19" formatCode="0.0000000">
                  <c:v>1.0350489082622353E-2</c:v>
                </c:pt>
                <c:pt idx="20">
                  <c:v>8.8557747416295358E-3</c:v>
                </c:pt>
                <c:pt idx="21">
                  <c:v>8.3354612774960788E-3</c:v>
                </c:pt>
                <c:pt idx="22">
                  <c:v>8.319417554915453E-3</c:v>
                </c:pt>
                <c:pt idx="23">
                  <c:v>7.651878988724773E-3</c:v>
                </c:pt>
                <c:pt idx="24">
                  <c:v>6.6201609599091243E-3</c:v>
                </c:pt>
                <c:pt idx="25">
                  <c:v>6.0086364544434711E-3</c:v>
                </c:pt>
                <c:pt idx="26">
                  <c:v>4.5158023644670531E-3</c:v>
                </c:pt>
                <c:pt idx="27">
                  <c:v>4.0083478836848551E-3</c:v>
                </c:pt>
                <c:pt idx="28">
                  <c:v>3.2416561509493952E-3</c:v>
                </c:pt>
                <c:pt idx="29">
                  <c:v>1.2234778969058887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01590432"/>
        <c:axId val="401589256"/>
      </c:barChart>
      <c:catAx>
        <c:axId val="4015904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1589256"/>
        <c:crosses val="autoZero"/>
        <c:auto val="1"/>
        <c:lblAlgn val="ctr"/>
        <c:lblOffset val="100"/>
        <c:noMultiLvlLbl val="0"/>
      </c:catAx>
      <c:valAx>
        <c:axId val="401589256"/>
        <c:scaling>
          <c:orientation val="minMax"/>
        </c:scaling>
        <c:delete val="0"/>
        <c:axPos val="l"/>
        <c:numFmt formatCode="0.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1590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4.725794487389709E-2"/>
          <c:w val="0.91393290618325784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mrtno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C7-4F71-B6A6-584BFB277F2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C7-4F71-B6A6-584BFB277F2C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C7-4F71-B6A6-584BFB277F2C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C7-4F71-B6A6-584BFB277F2C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8C7-4F71-B6A6-584BFB277F2C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8C7-4F71-B6A6-584BFB277F2C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8C7-4F71-B6A6-584BFB277F2C}"/>
              </c:ext>
            </c:extLst>
          </c:dPt>
          <c:cat>
            <c:strRef>
              <c:f>List1!$A$2:$A$31</c:f>
              <c:strCache>
                <c:ptCount val="30"/>
                <c:pt idx="0">
                  <c:v>Dánsko</c:v>
                </c:pt>
                <c:pt idx="1">
                  <c:v>Portugalsko</c:v>
                </c:pt>
                <c:pt idx="2">
                  <c:v>Irsko</c:v>
                </c:pt>
                <c:pt idx="3">
                  <c:v>Malta</c:v>
                </c:pt>
                <c:pt idx="4">
                  <c:v>Norsko</c:v>
                </c:pt>
                <c:pt idx="5">
                  <c:v>Island</c:v>
                </c:pt>
                <c:pt idx="6">
                  <c:v>Španělsko</c:v>
                </c:pt>
                <c:pt idx="7">
                  <c:v>Francie</c:v>
                </c:pt>
                <c:pt idx="8">
                  <c:v>Finsko</c:v>
                </c:pt>
                <c:pt idx="9">
                  <c:v>Itálie</c:v>
                </c:pt>
                <c:pt idx="10">
                  <c:v>Belgie</c:v>
                </c:pt>
                <c:pt idx="11">
                  <c:v>Nizozemsko</c:v>
                </c:pt>
                <c:pt idx="12">
                  <c:v>Německo</c:v>
                </c:pt>
                <c:pt idx="13">
                  <c:v>Švédsko</c:v>
                </c:pt>
                <c:pt idx="14">
                  <c:v>Kypr</c:v>
                </c:pt>
                <c:pt idx="15">
                  <c:v>Rakousko</c:v>
                </c:pt>
                <c:pt idx="16">
                  <c:v>Lucembursko</c:v>
                </c:pt>
                <c:pt idx="17">
                  <c:v>Řecko</c:v>
                </c:pt>
                <c:pt idx="18">
                  <c:v>Litva</c:v>
                </c:pt>
                <c:pt idx="19">
                  <c:v>Lichtenštejnsko</c:v>
                </c:pt>
                <c:pt idx="20">
                  <c:v>Lotyšsko</c:v>
                </c:pt>
                <c:pt idx="21">
                  <c:v>Česká republika</c:v>
                </c:pt>
                <c:pt idx="22">
                  <c:v>Estonsko</c:v>
                </c:pt>
                <c:pt idx="23">
                  <c:v>Maďarsko</c:v>
                </c:pt>
                <c:pt idx="24">
                  <c:v>Slovinsko</c:v>
                </c:pt>
                <c:pt idx="25">
                  <c:v>Chorvatsko</c:v>
                </c:pt>
                <c:pt idx="26">
                  <c:v>Polsko</c:v>
                </c:pt>
                <c:pt idx="27">
                  <c:v>Slovensko</c:v>
                </c:pt>
                <c:pt idx="28">
                  <c:v>Rumunsko</c:v>
                </c:pt>
                <c:pt idx="29">
                  <c:v>Bulharsko</c:v>
                </c:pt>
              </c:strCache>
            </c:strRef>
          </c:cat>
          <c:val>
            <c:numRef>
              <c:f>List1!$B$2:$B$31</c:f>
              <c:numCache>
                <c:formatCode>0.0%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0.95099999999999996</c:v>
                </c:pt>
                <c:pt idx="3">
                  <c:v>0.93899999999999995</c:v>
                </c:pt>
                <c:pt idx="4">
                  <c:v>0.93200000000000005</c:v>
                </c:pt>
                <c:pt idx="5">
                  <c:v>0.92900000000000005</c:v>
                </c:pt>
                <c:pt idx="6">
                  <c:v>0.92800000000000005</c:v>
                </c:pt>
                <c:pt idx="7">
                  <c:v>0.92400000000000004</c:v>
                </c:pt>
                <c:pt idx="8">
                  <c:v>0.90200000000000002</c:v>
                </c:pt>
                <c:pt idx="9">
                  <c:v>0.89700000000000002</c:v>
                </c:pt>
                <c:pt idx="10">
                  <c:v>0.89200000000000002</c:v>
                </c:pt>
                <c:pt idx="11">
                  <c:v>0.89100000000000001</c:v>
                </c:pt>
                <c:pt idx="12">
                  <c:v>0.88800000000000001</c:v>
                </c:pt>
                <c:pt idx="13">
                  <c:v>0.876</c:v>
                </c:pt>
                <c:pt idx="14">
                  <c:v>0.85599999999999998</c:v>
                </c:pt>
                <c:pt idx="15">
                  <c:v>0.83899999999999997</c:v>
                </c:pt>
                <c:pt idx="16">
                  <c:v>0.82599999999999996</c:v>
                </c:pt>
                <c:pt idx="17">
                  <c:v>0.80800000000000005</c:v>
                </c:pt>
                <c:pt idx="18">
                  <c:v>0.8</c:v>
                </c:pt>
                <c:pt idx="19">
                  <c:v>0.78900000000000003</c:v>
                </c:pt>
                <c:pt idx="20">
                  <c:v>0.76800000000000002</c:v>
                </c:pt>
                <c:pt idx="21">
                  <c:v>0.74299999999999999</c:v>
                </c:pt>
                <c:pt idx="22">
                  <c:v>0.73599999999999999</c:v>
                </c:pt>
                <c:pt idx="23">
                  <c:v>0.72399999999999998</c:v>
                </c:pt>
                <c:pt idx="24">
                  <c:v>0.69599999999999995</c:v>
                </c:pt>
                <c:pt idx="25">
                  <c:v>0.66300000000000003</c:v>
                </c:pt>
                <c:pt idx="26">
                  <c:v>0.65600000000000003</c:v>
                </c:pt>
                <c:pt idx="27">
                  <c:v>0.59699999999999998</c:v>
                </c:pt>
                <c:pt idx="28">
                  <c:v>0.49299999999999999</c:v>
                </c:pt>
                <c:pt idx="29">
                  <c:v>0.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9289600"/>
        <c:axId val="359286464"/>
      </c:barChart>
      <c:catAx>
        <c:axId val="3592896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6464"/>
        <c:crosses val="autoZero"/>
        <c:auto val="1"/>
        <c:lblAlgn val="ctr"/>
        <c:lblOffset val="100"/>
        <c:noMultiLvlLbl val="0"/>
      </c:catAx>
      <c:valAx>
        <c:axId val="359286464"/>
        <c:scaling>
          <c:orientation val="minMax"/>
          <c:max val="1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96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4.725794487389709E-2"/>
          <c:w val="0.91393290618325784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mrtno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C7-4F71-B6A6-584BFB277F2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C7-4F71-B6A6-584BFB277F2C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C7-4F71-B6A6-584BFB277F2C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C7-4F71-B6A6-584BFB277F2C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8C7-4F71-B6A6-584BFB277F2C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8C7-4F71-B6A6-584BFB277F2C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8C7-4F71-B6A6-584BFB277F2C}"/>
              </c:ext>
            </c:extLst>
          </c:dPt>
          <c:cat>
            <c:strRef>
              <c:f>List1!$A$2:$A$31</c:f>
              <c:strCache>
                <c:ptCount val="30"/>
                <c:pt idx="0">
                  <c:v>Dánsko</c:v>
                </c:pt>
                <c:pt idx="1">
                  <c:v>Irsko</c:v>
                </c:pt>
                <c:pt idx="2">
                  <c:v>Portugalsko</c:v>
                </c:pt>
                <c:pt idx="3">
                  <c:v>Malta</c:v>
                </c:pt>
                <c:pt idx="4">
                  <c:v>Island</c:v>
                </c:pt>
                <c:pt idx="5">
                  <c:v>Norsko</c:v>
                </c:pt>
                <c:pt idx="6">
                  <c:v>Belgie</c:v>
                </c:pt>
                <c:pt idx="7">
                  <c:v>Francie</c:v>
                </c:pt>
                <c:pt idx="8">
                  <c:v>Finsko</c:v>
                </c:pt>
                <c:pt idx="9">
                  <c:v>Španělsko</c:v>
                </c:pt>
                <c:pt idx="10">
                  <c:v>Německo</c:v>
                </c:pt>
                <c:pt idx="11">
                  <c:v>Švédsko</c:v>
                </c:pt>
                <c:pt idx="12">
                  <c:v>Kypr</c:v>
                </c:pt>
                <c:pt idx="13">
                  <c:v>Itálie</c:v>
                </c:pt>
                <c:pt idx="14">
                  <c:v>Nizozemsko</c:v>
                </c:pt>
                <c:pt idx="15">
                  <c:v>Rakousko</c:v>
                </c:pt>
                <c:pt idx="16">
                  <c:v>Lucembursko</c:v>
                </c:pt>
                <c:pt idx="17">
                  <c:v>Litva</c:v>
                </c:pt>
                <c:pt idx="18">
                  <c:v>Řecko</c:v>
                </c:pt>
                <c:pt idx="19">
                  <c:v>Lotyšsko</c:v>
                </c:pt>
                <c:pt idx="20">
                  <c:v>Lichtenštejnsko</c:v>
                </c:pt>
                <c:pt idx="21">
                  <c:v>Česká republika</c:v>
                </c:pt>
                <c:pt idx="22">
                  <c:v>Estonsko</c:v>
                </c:pt>
                <c:pt idx="23">
                  <c:v>Maďarsko</c:v>
                </c:pt>
                <c:pt idx="24">
                  <c:v>Slovinsko</c:v>
                </c:pt>
                <c:pt idx="25">
                  <c:v>Polsko</c:v>
                </c:pt>
                <c:pt idx="26">
                  <c:v>Chorvatsko</c:v>
                </c:pt>
                <c:pt idx="27">
                  <c:v>Slovensko</c:v>
                </c:pt>
                <c:pt idx="28">
                  <c:v>Rumunsko</c:v>
                </c:pt>
                <c:pt idx="29">
                  <c:v>Bulharsko</c:v>
                </c:pt>
              </c:strCache>
            </c:strRef>
          </c:cat>
          <c:val>
            <c:numRef>
              <c:f>List1!$B$2:$B$31</c:f>
              <c:numCache>
                <c:formatCode>0.0%</c:formatCode>
                <c:ptCount val="30"/>
                <c:pt idx="0">
                  <c:v>0.98799999999999999</c:v>
                </c:pt>
                <c:pt idx="1">
                  <c:v>0.94</c:v>
                </c:pt>
                <c:pt idx="2">
                  <c:v>0.93100000000000005</c:v>
                </c:pt>
                <c:pt idx="3">
                  <c:v>0.92900000000000005</c:v>
                </c:pt>
                <c:pt idx="4">
                  <c:v>0.91900000000000004</c:v>
                </c:pt>
                <c:pt idx="5">
                  <c:v>0.89800000000000002</c:v>
                </c:pt>
                <c:pt idx="6">
                  <c:v>0.88200000000000001</c:v>
                </c:pt>
                <c:pt idx="7">
                  <c:v>0.872</c:v>
                </c:pt>
                <c:pt idx="8">
                  <c:v>0.86299999999999999</c:v>
                </c:pt>
                <c:pt idx="9">
                  <c:v>0.85499999999999998</c:v>
                </c:pt>
                <c:pt idx="10">
                  <c:v>0.85199999999999998</c:v>
                </c:pt>
                <c:pt idx="11">
                  <c:v>0.84899999999999998</c:v>
                </c:pt>
                <c:pt idx="12">
                  <c:v>0.84699999999999998</c:v>
                </c:pt>
                <c:pt idx="13">
                  <c:v>0.83599999999999997</c:v>
                </c:pt>
                <c:pt idx="14">
                  <c:v>0.82099999999999995</c:v>
                </c:pt>
                <c:pt idx="15">
                  <c:v>0.80100000000000005</c:v>
                </c:pt>
                <c:pt idx="16">
                  <c:v>0.79800000000000004</c:v>
                </c:pt>
                <c:pt idx="17">
                  <c:v>0.77</c:v>
                </c:pt>
                <c:pt idx="18">
                  <c:v>0.76700000000000002</c:v>
                </c:pt>
                <c:pt idx="19">
                  <c:v>0.74199999999999999</c:v>
                </c:pt>
                <c:pt idx="20">
                  <c:v>0.74</c:v>
                </c:pt>
                <c:pt idx="21">
                  <c:v>0.72799999999999998</c:v>
                </c:pt>
                <c:pt idx="22">
                  <c:v>0.70199999999999996</c:v>
                </c:pt>
                <c:pt idx="23">
                  <c:v>0.69699999999999995</c:v>
                </c:pt>
                <c:pt idx="24">
                  <c:v>0.67</c:v>
                </c:pt>
                <c:pt idx="25">
                  <c:v>0.64500000000000002</c:v>
                </c:pt>
                <c:pt idx="26">
                  <c:v>0.63100000000000001</c:v>
                </c:pt>
                <c:pt idx="27">
                  <c:v>0.57199999999999995</c:v>
                </c:pt>
                <c:pt idx="28">
                  <c:v>0.48499999999999999</c:v>
                </c:pt>
                <c:pt idx="29">
                  <c:v>0.331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9293128"/>
        <c:axId val="359286856"/>
      </c:barChart>
      <c:catAx>
        <c:axId val="3592931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6856"/>
        <c:crosses val="autoZero"/>
        <c:auto val="1"/>
        <c:lblAlgn val="ctr"/>
        <c:lblOffset val="100"/>
        <c:noMultiLvlLbl val="0"/>
      </c:catAx>
      <c:valAx>
        <c:axId val="359286856"/>
        <c:scaling>
          <c:orientation val="minMax"/>
          <c:max val="1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931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147262593113503E-2"/>
          <c:y val="4.8800639884654412E-2"/>
          <c:w val="0.86121607542845235"/>
          <c:h val="0.82460070750847803"/>
        </c:manualLayout>
      </c:layout>
      <c:scatterChart>
        <c:scatterStyle val="lineMarker"/>
        <c:varyColors val="0"/>
        <c:ser>
          <c:idx val="0"/>
          <c:order val="0"/>
          <c:tx>
            <c:strRef>
              <c:f>List1!$C$3</c:f>
              <c:strCache>
                <c:ptCount val="1"/>
                <c:pt idx="0">
                  <c:v>B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0070C0"/>
              </a:solidFill>
              <a:ln w="9525">
                <a:solidFill>
                  <a:srgbClr val="0070C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9978920451936878E-2"/>
                  <c:y val="-4.6663727219282986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3</c:f>
              <c:numCache>
                <c:formatCode>0.0%</c:formatCode>
                <c:ptCount val="1"/>
                <c:pt idx="0">
                  <c:v>0.89200000000000002</c:v>
                </c:pt>
              </c:numCache>
            </c:numRef>
          </c:xVal>
          <c:yVal>
            <c:numRef>
              <c:f>List1!$A$3</c:f>
              <c:numCache>
                <c:formatCode>0.0%</c:formatCode>
                <c:ptCount val="1"/>
                <c:pt idx="0">
                  <c:v>0.882000000000000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45A2-44FB-8F7B-9BC1EF59F5D8}"/>
            </c:ext>
          </c:extLst>
        </c:ser>
        <c:ser>
          <c:idx val="1"/>
          <c:order val="1"/>
          <c:tx>
            <c:strRef>
              <c:f>List1!$C$2</c:f>
              <c:strCache>
                <c:ptCount val="1"/>
                <c:pt idx="0">
                  <c:v>A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0070C0"/>
              </a:solidFill>
              <a:ln w="9525">
                <a:solidFill>
                  <a:srgbClr val="0070C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9863632793851782E-2"/>
                  <c:y val="1.3999118165784832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670-40CC-87AC-1F8CD69998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</c:f>
              <c:numCache>
                <c:formatCode>0.0%</c:formatCode>
                <c:ptCount val="1"/>
                <c:pt idx="0">
                  <c:v>0.83899999999999997</c:v>
                </c:pt>
              </c:numCache>
            </c:numRef>
          </c:xVal>
          <c:yVal>
            <c:numRef>
              <c:f>List1!$A$2</c:f>
              <c:numCache>
                <c:formatCode>0.0%</c:formatCode>
                <c:ptCount val="1"/>
                <c:pt idx="0">
                  <c:v>0.8010000000000000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45A2-44FB-8F7B-9BC1EF59F5D8}"/>
            </c:ext>
          </c:extLst>
        </c:ser>
        <c:ser>
          <c:idx val="2"/>
          <c:order val="2"/>
          <c:tx>
            <c:strRef>
              <c:f>List1!$C$4</c:f>
              <c:strCache>
                <c:ptCount val="1"/>
                <c:pt idx="0">
                  <c:v>BG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1347606396832839E-2"/>
                  <c:y val="2.333186360964096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2D7-4442-BA00-D1571E62952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4</c:f>
              <c:numCache>
                <c:formatCode>0.0%</c:formatCode>
                <c:ptCount val="1"/>
                <c:pt idx="0">
                  <c:v>0.34</c:v>
                </c:pt>
              </c:numCache>
            </c:numRef>
          </c:xVal>
          <c:yVal>
            <c:numRef>
              <c:f>List1!$A$4</c:f>
              <c:numCache>
                <c:formatCode>0.0%</c:formatCode>
                <c:ptCount val="1"/>
                <c:pt idx="0">
                  <c:v>0.331000000000000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9149-402E-9150-02BFAEF7D23C}"/>
            </c:ext>
          </c:extLst>
        </c:ser>
        <c:ser>
          <c:idx val="3"/>
          <c:order val="3"/>
          <c:tx>
            <c:strRef>
              <c:f>List1!$C$5</c:f>
              <c:strCache>
                <c:ptCount val="1"/>
                <c:pt idx="0">
                  <c:v>HR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127526924636813E-2"/>
                  <c:y val="4.6663727219282778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5</c:f>
              <c:numCache>
                <c:formatCode>0.0%</c:formatCode>
                <c:ptCount val="1"/>
                <c:pt idx="0">
                  <c:v>0.66300000000000003</c:v>
                </c:pt>
              </c:numCache>
            </c:numRef>
          </c:xVal>
          <c:yVal>
            <c:numRef>
              <c:f>List1!$A$5</c:f>
              <c:numCache>
                <c:formatCode>0.0%</c:formatCode>
                <c:ptCount val="1"/>
                <c:pt idx="0">
                  <c:v>0.631000000000000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9149-402E-9150-02BFAEF7D23C}"/>
            </c:ext>
          </c:extLst>
        </c:ser>
        <c:ser>
          <c:idx val="4"/>
          <c:order val="4"/>
          <c:tx>
            <c:strRef>
              <c:f>List1!$C$6</c:f>
              <c:strCache>
                <c:ptCount val="1"/>
                <c:pt idx="0">
                  <c:v>CY</c:v>
                </c:pt>
              </c:strCache>
            </c:strRef>
          </c:tx>
          <c:spPr>
            <a:ln w="2540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tx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8341782560988816E-2"/>
                  <c:y val="-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6</c:f>
              <c:numCache>
                <c:formatCode>0.0%</c:formatCode>
                <c:ptCount val="1"/>
                <c:pt idx="0">
                  <c:v>0.85599999999999998</c:v>
                </c:pt>
              </c:numCache>
            </c:numRef>
          </c:xVal>
          <c:yVal>
            <c:numRef>
              <c:f>List1!$A$6</c:f>
              <c:numCache>
                <c:formatCode>0.0%</c:formatCode>
                <c:ptCount val="1"/>
                <c:pt idx="0">
                  <c:v>0.8469999999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9149-402E-9150-02BFAEF7D23C}"/>
            </c:ext>
          </c:extLst>
        </c:ser>
        <c:ser>
          <c:idx val="5"/>
          <c:order val="5"/>
          <c:tx>
            <c:strRef>
              <c:f>List1!$C$7</c:f>
              <c:strCache>
                <c:ptCount val="1"/>
                <c:pt idx="0">
                  <c:v>CZ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138111030968019E-2"/>
                  <c:y val="-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7</c:f>
              <c:numCache>
                <c:formatCode>0.0%</c:formatCode>
                <c:ptCount val="1"/>
                <c:pt idx="0">
                  <c:v>0.74299999999999999</c:v>
                </c:pt>
              </c:numCache>
            </c:numRef>
          </c:xVal>
          <c:yVal>
            <c:numRef>
              <c:f>List1!$A$7</c:f>
              <c:numCache>
                <c:formatCode>0.0%</c:formatCode>
                <c:ptCount val="1"/>
                <c:pt idx="0">
                  <c:v>0.7279999999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9149-402E-9150-02BFAEF7D23C}"/>
            </c:ext>
          </c:extLst>
        </c:ser>
        <c:ser>
          <c:idx val="6"/>
          <c:order val="6"/>
          <c:tx>
            <c:strRef>
              <c:f>List1!$C$8</c:f>
              <c:strCache>
                <c:ptCount val="1"/>
                <c:pt idx="0">
                  <c:v>DK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</a:schemeClr>
              </a:solidFill>
              <a:ln w="9525">
                <a:solidFill>
                  <a:schemeClr val="accent1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9945375240029266E-2"/>
                  <c:y val="-9.3327454438565556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38A-4224-89D1-2C7D3FE02E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8</c:f>
              <c:numCache>
                <c:formatCode>0.0%</c:formatCode>
                <c:ptCount val="1"/>
                <c:pt idx="0">
                  <c:v>1</c:v>
                </c:pt>
              </c:numCache>
            </c:numRef>
          </c:xVal>
          <c:yVal>
            <c:numRef>
              <c:f>List1!$A$8</c:f>
              <c:numCache>
                <c:formatCode>0.0%</c:formatCode>
                <c:ptCount val="1"/>
                <c:pt idx="0">
                  <c:v>0.987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9149-402E-9150-02BFAEF7D23C}"/>
            </c:ext>
          </c:extLst>
        </c:ser>
        <c:ser>
          <c:idx val="7"/>
          <c:order val="7"/>
          <c:tx>
            <c:strRef>
              <c:f>List1!$C$9</c:f>
              <c:strCache>
                <c:ptCount val="1"/>
                <c:pt idx="0">
                  <c:v>E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60000"/>
                </a:schemeClr>
              </a:solidFill>
              <a:ln w="9525">
                <a:solidFill>
                  <a:schemeClr val="accent2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1124250017858014E-2"/>
                  <c:y val="1.166593180482065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9</c:f>
              <c:numCache>
                <c:formatCode>0.0%</c:formatCode>
                <c:ptCount val="1"/>
                <c:pt idx="0">
                  <c:v>0.73599999999999999</c:v>
                </c:pt>
              </c:numCache>
            </c:numRef>
          </c:xVal>
          <c:yVal>
            <c:numRef>
              <c:f>List1!$A$9</c:f>
              <c:numCache>
                <c:formatCode>0.0%</c:formatCode>
                <c:ptCount val="1"/>
                <c:pt idx="0">
                  <c:v>0.7019999999999999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9149-402E-9150-02BFAEF7D23C}"/>
            </c:ext>
          </c:extLst>
        </c:ser>
        <c:ser>
          <c:idx val="8"/>
          <c:order val="8"/>
          <c:tx>
            <c:strRef>
              <c:f>List1!$C$10</c:f>
              <c:strCache>
                <c:ptCount val="1"/>
                <c:pt idx="0">
                  <c:v>FI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60000"/>
                </a:schemeClr>
              </a:solidFill>
              <a:ln w="9525">
                <a:solidFill>
                  <a:schemeClr val="accent3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4734109468682116E-2"/>
                  <c:y val="-2.7998236331569663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38A-4224-89D1-2C7D3FE02E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0</c:f>
              <c:numCache>
                <c:formatCode>0.0%</c:formatCode>
                <c:ptCount val="1"/>
                <c:pt idx="0">
                  <c:v>0.90200000000000002</c:v>
                </c:pt>
              </c:numCache>
            </c:numRef>
          </c:xVal>
          <c:yVal>
            <c:numRef>
              <c:f>List1!$A$10</c:f>
              <c:numCache>
                <c:formatCode>0.0%</c:formatCode>
                <c:ptCount val="1"/>
                <c:pt idx="0">
                  <c:v>0.862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9149-402E-9150-02BFAEF7D23C}"/>
            </c:ext>
          </c:extLst>
        </c:ser>
        <c:ser>
          <c:idx val="9"/>
          <c:order val="9"/>
          <c:tx>
            <c:strRef>
              <c:f>List1!$C$11</c:f>
              <c:strCache>
                <c:ptCount val="1"/>
                <c:pt idx="0">
                  <c:v>FR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60000"/>
                </a:schemeClr>
              </a:solidFill>
              <a:ln w="9525">
                <a:solidFill>
                  <a:schemeClr val="accent4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1.0326137074154923E-2"/>
                  <c:y val="-6.9995590828924375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1</c:f>
              <c:numCache>
                <c:formatCode>0.0%</c:formatCode>
                <c:ptCount val="1"/>
                <c:pt idx="0">
                  <c:v>0.92400000000000004</c:v>
                </c:pt>
              </c:numCache>
            </c:numRef>
          </c:xVal>
          <c:yVal>
            <c:numRef>
              <c:f>List1!$A$11</c:f>
              <c:numCache>
                <c:formatCode>0.0%</c:formatCode>
                <c:ptCount val="1"/>
                <c:pt idx="0">
                  <c:v>0.87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7-9149-402E-9150-02BFAEF7D23C}"/>
            </c:ext>
          </c:extLst>
        </c:ser>
        <c:ser>
          <c:idx val="10"/>
          <c:order val="10"/>
          <c:tx>
            <c:strRef>
              <c:f>List1!$C$12</c:f>
              <c:strCache>
                <c:ptCount val="1"/>
                <c:pt idx="0">
                  <c:v>D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60000"/>
                </a:schemeClr>
              </a:solidFill>
              <a:ln w="9525">
                <a:solidFill>
                  <a:schemeClr val="accent5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9181202157785887E-2"/>
                  <c:y val="3.5662845385067608E-2"/>
                </c:manualLayout>
              </c:layout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2</c:f>
              <c:numCache>
                <c:formatCode>0.0%</c:formatCode>
                <c:ptCount val="1"/>
                <c:pt idx="0">
                  <c:v>0.88800000000000001</c:v>
                </c:pt>
              </c:numCache>
            </c:numRef>
          </c:xVal>
          <c:yVal>
            <c:numRef>
              <c:f>List1!$A$12</c:f>
              <c:numCache>
                <c:formatCode>0.0%</c:formatCode>
                <c:ptCount val="1"/>
                <c:pt idx="0">
                  <c:v>0.8519999999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9149-402E-9150-02BFAEF7D23C}"/>
            </c:ext>
          </c:extLst>
        </c:ser>
        <c:ser>
          <c:idx val="11"/>
          <c:order val="11"/>
          <c:tx>
            <c:strRef>
              <c:f>List1!$C$13</c:f>
              <c:strCache>
                <c:ptCount val="1"/>
                <c:pt idx="0">
                  <c:v>E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60000"/>
                </a:schemeClr>
              </a:solidFill>
              <a:ln w="9525">
                <a:solidFill>
                  <a:schemeClr val="accent6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4525734505302184E-3"/>
                  <c:y val="1.399911816578479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B66-49F0-87A3-3B9192B845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3</c:f>
              <c:numCache>
                <c:formatCode>0.0%</c:formatCode>
                <c:ptCount val="1"/>
                <c:pt idx="0">
                  <c:v>0.80800000000000005</c:v>
                </c:pt>
              </c:numCache>
            </c:numRef>
          </c:xVal>
          <c:yVal>
            <c:numRef>
              <c:f>List1!$A$13</c:f>
              <c:numCache>
                <c:formatCode>0.0%</c:formatCode>
                <c:ptCount val="1"/>
                <c:pt idx="0">
                  <c:v>0.767000000000000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9149-402E-9150-02BFAEF7D23C}"/>
            </c:ext>
          </c:extLst>
        </c:ser>
        <c:ser>
          <c:idx val="12"/>
          <c:order val="12"/>
          <c:tx>
            <c:strRef>
              <c:f>List1!$C$14</c:f>
              <c:strCache>
                <c:ptCount val="1"/>
                <c:pt idx="0">
                  <c:v>HU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80000"/>
                  <a:lumOff val="20000"/>
                </a:schemeClr>
              </a:solidFill>
              <a:ln w="9525">
                <a:solidFill>
                  <a:schemeClr val="accent1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004601087575247E-2"/>
                  <c:y val="-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4</c:f>
              <c:numCache>
                <c:formatCode>0.0%</c:formatCode>
                <c:ptCount val="1"/>
                <c:pt idx="0">
                  <c:v>0.72399999999999998</c:v>
                </c:pt>
              </c:numCache>
            </c:numRef>
          </c:xVal>
          <c:yVal>
            <c:numRef>
              <c:f>List1!$A$14</c:f>
              <c:numCache>
                <c:formatCode>0.0%</c:formatCode>
                <c:ptCount val="1"/>
                <c:pt idx="0">
                  <c:v>0.696999999999999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A-9149-402E-9150-02BFAEF7D23C}"/>
            </c:ext>
          </c:extLst>
        </c:ser>
        <c:ser>
          <c:idx val="13"/>
          <c:order val="13"/>
          <c:tx>
            <c:strRef>
              <c:f>List1!$C$15</c:f>
              <c:strCache>
                <c:ptCount val="1"/>
                <c:pt idx="0">
                  <c:v>I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80000"/>
                  <a:lumOff val="20000"/>
                </a:schemeClr>
              </a:solidFill>
              <a:ln w="9525">
                <a:solidFill>
                  <a:schemeClr val="accent2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7.0101599896128242E-2"/>
                  <c:y val="-6.9995590828924375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5</c:f>
              <c:numCache>
                <c:formatCode>0.0%</c:formatCode>
                <c:ptCount val="1"/>
                <c:pt idx="0">
                  <c:v>0.92900000000000005</c:v>
                </c:pt>
              </c:numCache>
            </c:numRef>
          </c:xVal>
          <c:yVal>
            <c:numRef>
              <c:f>List1!$A$15</c:f>
              <c:numCache>
                <c:formatCode>0.0%</c:formatCode>
                <c:ptCount val="1"/>
                <c:pt idx="0">
                  <c:v>0.919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B-9149-402E-9150-02BFAEF7D23C}"/>
            </c:ext>
          </c:extLst>
        </c:ser>
        <c:ser>
          <c:idx val="14"/>
          <c:order val="14"/>
          <c:tx>
            <c:strRef>
              <c:f>List1!$C$16</c:f>
              <c:strCache>
                <c:ptCount val="1"/>
                <c:pt idx="0">
                  <c:v>I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80000"/>
                  <a:lumOff val="20000"/>
                </a:schemeClr>
              </a:solidFill>
              <a:ln w="9525">
                <a:solidFill>
                  <a:schemeClr val="accent3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3255382592350299E-2"/>
                  <c:y val="-2.333186360964138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6</c:f>
              <c:numCache>
                <c:formatCode>0.0%</c:formatCode>
                <c:ptCount val="1"/>
                <c:pt idx="0">
                  <c:v>0.95099999999999996</c:v>
                </c:pt>
              </c:numCache>
            </c:numRef>
          </c:xVal>
          <c:yVal>
            <c:numRef>
              <c:f>List1!$A$16</c:f>
              <c:numCache>
                <c:formatCode>0.0%</c:formatCode>
                <c:ptCount val="1"/>
                <c:pt idx="0">
                  <c:v>0.9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C-9149-402E-9150-02BFAEF7D23C}"/>
            </c:ext>
          </c:extLst>
        </c:ser>
        <c:ser>
          <c:idx val="15"/>
          <c:order val="15"/>
          <c:tx>
            <c:strRef>
              <c:f>List1!$C$17</c:f>
              <c:strCache>
                <c:ptCount val="1"/>
                <c:pt idx="0">
                  <c:v>I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80000"/>
                  <a:lumOff val="20000"/>
                </a:schemeClr>
              </a:solidFill>
              <a:ln w="9525">
                <a:solidFill>
                  <a:schemeClr val="accent4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1.4773837523568801E-2"/>
                  <c:y val="2.5000183715461494E-2"/>
                </c:manualLayout>
              </c:layout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"/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7</c:f>
              <c:numCache>
                <c:formatCode>0.0%</c:formatCode>
                <c:ptCount val="1"/>
                <c:pt idx="0">
                  <c:v>0.89700000000000002</c:v>
                </c:pt>
              </c:numCache>
            </c:numRef>
          </c:xVal>
          <c:yVal>
            <c:numRef>
              <c:f>List1!$A$17</c:f>
              <c:numCache>
                <c:formatCode>0.0%</c:formatCode>
                <c:ptCount val="1"/>
                <c:pt idx="0">
                  <c:v>0.8359999999999999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D-9149-402E-9150-02BFAEF7D23C}"/>
            </c:ext>
          </c:extLst>
        </c:ser>
        <c:ser>
          <c:idx val="16"/>
          <c:order val="16"/>
          <c:tx>
            <c:strRef>
              <c:f>List1!$C$18</c:f>
              <c:strCache>
                <c:ptCount val="1"/>
                <c:pt idx="0">
                  <c:v>LV</c:v>
                </c:pt>
              </c:strCache>
            </c:strRef>
          </c:tx>
          <c:spPr>
            <a:ln w="2540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80000"/>
                  <a:lumOff val="20000"/>
                </a:schemeClr>
              </a:solidFill>
              <a:ln w="9525">
                <a:solidFill>
                  <a:schemeClr val="tx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630197057729731E-2"/>
                  <c:y val="-2.0998677248677291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670-40CC-87AC-1F8CD69998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8</c:f>
              <c:numCache>
                <c:formatCode>0.0%</c:formatCode>
                <c:ptCount val="1"/>
                <c:pt idx="0">
                  <c:v>0.76800000000000002</c:v>
                </c:pt>
              </c:numCache>
            </c:numRef>
          </c:xVal>
          <c:yVal>
            <c:numRef>
              <c:f>List1!$A$18</c:f>
              <c:numCache>
                <c:formatCode>0.0%</c:formatCode>
                <c:ptCount val="1"/>
                <c:pt idx="0">
                  <c:v>0.741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E-9149-402E-9150-02BFAEF7D23C}"/>
            </c:ext>
          </c:extLst>
        </c:ser>
        <c:ser>
          <c:idx val="28"/>
          <c:order val="17"/>
          <c:tx>
            <c:strRef>
              <c:f>List1!$C$19</c:f>
              <c:strCache>
                <c:ptCount val="1"/>
                <c:pt idx="0">
                  <c:v>LI</c:v>
                </c:pt>
              </c:strCache>
            </c:strRef>
          </c:tx>
          <c:spPr>
            <a:ln w="25400" cap="rnd">
              <a:solidFill>
                <a:schemeClr val="accent1">
                  <a:lumMod val="7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75000"/>
                </a:schemeClr>
              </a:solidFill>
              <a:ln w="9525">
                <a:solidFill>
                  <a:schemeClr val="accent1">
                    <a:lumMod val="75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7388985409937612E-3"/>
                  <c:y val="6.999559082892415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9</c:f>
              <c:numCache>
                <c:formatCode>0.0%</c:formatCode>
                <c:ptCount val="1"/>
                <c:pt idx="0">
                  <c:v>0.78900000000000003</c:v>
                </c:pt>
              </c:numCache>
            </c:numRef>
          </c:xVal>
          <c:yVal>
            <c:numRef>
              <c:f>List1!$A$19</c:f>
              <c:numCache>
                <c:formatCode>0.0%</c:formatCode>
                <c:ptCount val="1"/>
                <c:pt idx="0">
                  <c:v>0.7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970D-44E3-9271-C9D0012D0ABC}"/>
            </c:ext>
          </c:extLst>
        </c:ser>
        <c:ser>
          <c:idx val="17"/>
          <c:order val="18"/>
          <c:tx>
            <c:strRef>
              <c:f>List1!$C$20</c:f>
              <c:strCache>
                <c:ptCount val="1"/>
                <c:pt idx="0">
                  <c:v>L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80000"/>
                  <a:lumOff val="20000"/>
                </a:schemeClr>
              </a:solidFill>
              <a:ln w="9525">
                <a:solidFill>
                  <a:schemeClr val="accent6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6419444593899689E-2"/>
                  <c:y val="-1.6332304526749015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0</c:f>
              <c:numCache>
                <c:formatCode>0.0%</c:formatCode>
                <c:ptCount val="1"/>
                <c:pt idx="0">
                  <c:v>0.8</c:v>
                </c:pt>
              </c:numCache>
            </c:numRef>
          </c:xVal>
          <c:yVal>
            <c:numRef>
              <c:f>List1!$A$20</c:f>
              <c:numCache>
                <c:formatCode>0.0%</c:formatCode>
                <c:ptCount val="1"/>
                <c:pt idx="0">
                  <c:v>0.7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F-9149-402E-9150-02BFAEF7D23C}"/>
            </c:ext>
          </c:extLst>
        </c:ser>
        <c:ser>
          <c:idx val="18"/>
          <c:order val="19"/>
          <c:tx>
            <c:strRef>
              <c:f>List1!$C$21</c:f>
              <c:strCache>
                <c:ptCount val="1"/>
                <c:pt idx="0">
                  <c:v>LU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80000"/>
                </a:schemeClr>
              </a:solidFill>
              <a:ln w="9525">
                <a:solidFill>
                  <a:schemeClr val="accent1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4782306702951744E-2"/>
                  <c:y val="-1.3999118165784832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1</c:f>
              <c:numCache>
                <c:formatCode>0.0%</c:formatCode>
                <c:ptCount val="1"/>
                <c:pt idx="0">
                  <c:v>0.82599999999999996</c:v>
                </c:pt>
              </c:numCache>
            </c:numRef>
          </c:xVal>
          <c:yVal>
            <c:numRef>
              <c:f>List1!$A$21</c:f>
              <c:numCache>
                <c:formatCode>0.0%</c:formatCode>
                <c:ptCount val="1"/>
                <c:pt idx="0">
                  <c:v>0.798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0-9149-402E-9150-02BFAEF7D23C}"/>
            </c:ext>
          </c:extLst>
        </c:ser>
        <c:ser>
          <c:idx val="19"/>
          <c:order val="20"/>
          <c:tx>
            <c:strRef>
              <c:f>List1!$C$22</c:f>
              <c:strCache>
                <c:ptCount val="1"/>
                <c:pt idx="0">
                  <c:v>M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80000"/>
                </a:schemeClr>
              </a:solidFill>
              <a:ln w="9525">
                <a:solidFill>
                  <a:schemeClr val="accent2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5.972442147993319E-2"/>
                  <c:y val="-2.63299162257495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2</c:f>
              <c:numCache>
                <c:formatCode>0.0%</c:formatCode>
                <c:ptCount val="1"/>
                <c:pt idx="0">
                  <c:v>0.93899999999999995</c:v>
                </c:pt>
              </c:numCache>
            </c:numRef>
          </c:xVal>
          <c:yVal>
            <c:numRef>
              <c:f>List1!$A$22</c:f>
              <c:numCache>
                <c:formatCode>0.0%</c:formatCode>
                <c:ptCount val="1"/>
                <c:pt idx="0">
                  <c:v>0.9290000000000000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1-9149-402E-9150-02BFAEF7D23C}"/>
            </c:ext>
          </c:extLst>
        </c:ser>
        <c:ser>
          <c:idx val="20"/>
          <c:order val="21"/>
          <c:tx>
            <c:strRef>
              <c:f>List1!$C$23</c:f>
              <c:strCache>
                <c:ptCount val="1"/>
                <c:pt idx="0">
                  <c:v>N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80000"/>
                </a:schemeClr>
              </a:solidFill>
              <a:ln w="9525">
                <a:solidFill>
                  <a:schemeClr val="accent3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3015542220201032E-3"/>
                  <c:y val="3.2664609053497939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670-40CC-87AC-1F8CD69998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3</c:f>
              <c:numCache>
                <c:formatCode>0.0%</c:formatCode>
                <c:ptCount val="1"/>
                <c:pt idx="0">
                  <c:v>0.89100000000000001</c:v>
                </c:pt>
              </c:numCache>
            </c:numRef>
          </c:xVal>
          <c:yVal>
            <c:numRef>
              <c:f>List1!$A$23</c:f>
              <c:numCache>
                <c:formatCode>0.0%</c:formatCode>
                <c:ptCount val="1"/>
                <c:pt idx="0">
                  <c:v>0.820999999999999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2-9149-402E-9150-02BFAEF7D23C}"/>
            </c:ext>
          </c:extLst>
        </c:ser>
        <c:ser>
          <c:idx val="21"/>
          <c:order val="22"/>
          <c:tx>
            <c:strRef>
              <c:f>List1!$C$24</c:f>
              <c:strCache>
                <c:ptCount val="1"/>
                <c:pt idx="0">
                  <c:v>NO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80000"/>
                </a:schemeClr>
              </a:solidFill>
              <a:ln w="9525">
                <a:solidFill>
                  <a:schemeClr val="accent4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5710409316044701E-3"/>
                  <c:y val="-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4</c:f>
              <c:numCache>
                <c:formatCode>0.0%</c:formatCode>
                <c:ptCount val="1"/>
                <c:pt idx="0">
                  <c:v>0.93200000000000005</c:v>
                </c:pt>
              </c:numCache>
            </c:numRef>
          </c:xVal>
          <c:yVal>
            <c:numRef>
              <c:f>List1!$A$24</c:f>
              <c:numCache>
                <c:formatCode>0.0%</c:formatCode>
                <c:ptCount val="1"/>
                <c:pt idx="0">
                  <c:v>0.898000000000000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3-9149-402E-9150-02BFAEF7D23C}"/>
            </c:ext>
          </c:extLst>
        </c:ser>
        <c:ser>
          <c:idx val="22"/>
          <c:order val="23"/>
          <c:tx>
            <c:strRef>
              <c:f>List1!$C$25</c:f>
              <c:strCache>
                <c:ptCount val="1"/>
                <c:pt idx="0">
                  <c:v>P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80000"/>
                </a:schemeClr>
              </a:solidFill>
              <a:ln w="25400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3.94923175544988E-2"/>
                  <c:y val="-4.6663727219283203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5</c:f>
              <c:numCache>
                <c:formatCode>0.0%</c:formatCode>
                <c:ptCount val="1"/>
                <c:pt idx="0">
                  <c:v>0.65600000000000003</c:v>
                </c:pt>
              </c:numCache>
            </c:numRef>
          </c:xVal>
          <c:yVal>
            <c:numRef>
              <c:f>List1!$A$25</c:f>
              <c:numCache>
                <c:formatCode>0.0%</c:formatCode>
                <c:ptCount val="1"/>
                <c:pt idx="0">
                  <c:v>0.645000000000000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4-9149-402E-9150-02BFAEF7D23C}"/>
            </c:ext>
          </c:extLst>
        </c:ser>
        <c:ser>
          <c:idx val="23"/>
          <c:order val="24"/>
          <c:tx>
            <c:strRef>
              <c:f>List1!$C$26</c:f>
              <c:strCache>
                <c:ptCount val="1"/>
                <c:pt idx="0">
                  <c:v>P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80000"/>
                </a:schemeClr>
              </a:solidFill>
              <a:ln w="9525">
                <a:solidFill>
                  <a:schemeClr val="accent6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9593084740072622E-2"/>
                  <c:y val="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38A-4224-89D1-2C7D3FE02E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6</c:f>
              <c:numCache>
                <c:formatCode>0.0%</c:formatCode>
                <c:ptCount val="1"/>
                <c:pt idx="0">
                  <c:v>1</c:v>
                </c:pt>
              </c:numCache>
            </c:numRef>
          </c:xVal>
          <c:yVal>
            <c:numRef>
              <c:f>List1!$A$26</c:f>
              <c:numCache>
                <c:formatCode>0.0%</c:formatCode>
                <c:ptCount val="1"/>
                <c:pt idx="0">
                  <c:v>0.9310000000000000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5-9149-402E-9150-02BFAEF7D23C}"/>
            </c:ext>
          </c:extLst>
        </c:ser>
        <c:ser>
          <c:idx val="24"/>
          <c:order val="25"/>
          <c:tx>
            <c:strRef>
              <c:f>List1!$C$27</c:f>
              <c:strCache>
                <c:ptCount val="1"/>
                <c:pt idx="0">
                  <c:v>RO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  <a:lumOff val="40000"/>
                </a:schemeClr>
              </a:solidFill>
              <a:ln w="9525"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315465958222639E-2"/>
                  <c:y val="-1.63323045267489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B66-49F0-87A3-3B9192B845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7</c:f>
              <c:numCache>
                <c:formatCode>0.0%</c:formatCode>
                <c:ptCount val="1"/>
                <c:pt idx="0">
                  <c:v>0.49299999999999999</c:v>
                </c:pt>
              </c:numCache>
            </c:numRef>
          </c:xVal>
          <c:yVal>
            <c:numRef>
              <c:f>List1!$A$27</c:f>
              <c:numCache>
                <c:formatCode>0.0%</c:formatCode>
                <c:ptCount val="1"/>
                <c:pt idx="0">
                  <c:v>0.484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6-9149-402E-9150-02BFAEF7D23C}"/>
            </c:ext>
          </c:extLst>
        </c:ser>
        <c:ser>
          <c:idx val="25"/>
          <c:order val="26"/>
          <c:tx>
            <c:strRef>
              <c:f>List1!$C$28</c:f>
              <c:strCache>
                <c:ptCount val="1"/>
                <c:pt idx="0">
                  <c:v>SK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60000"/>
                  <a:lumOff val="40000"/>
                </a:schemeClr>
              </a:solidFill>
              <a:ln w="9525">
                <a:solidFill>
                  <a:schemeClr val="accent2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9676881994916709E-2"/>
                  <c:y val="-1.63323045267489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8</c:f>
              <c:numCache>
                <c:formatCode>0.0%</c:formatCode>
                <c:ptCount val="1"/>
                <c:pt idx="0">
                  <c:v>0.59699999999999998</c:v>
                </c:pt>
              </c:numCache>
            </c:numRef>
          </c:xVal>
          <c:yVal>
            <c:numRef>
              <c:f>List1!$A$28</c:f>
              <c:numCache>
                <c:formatCode>0.0%</c:formatCode>
                <c:ptCount val="1"/>
                <c:pt idx="0">
                  <c:v>0.571999999999999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7-9149-402E-9150-02BFAEF7D23C}"/>
            </c:ext>
          </c:extLst>
        </c:ser>
        <c:ser>
          <c:idx val="26"/>
          <c:order val="27"/>
          <c:tx>
            <c:strRef>
              <c:f>List1!$C$29</c:f>
              <c:strCache>
                <c:ptCount val="1"/>
                <c:pt idx="0">
                  <c:v>SI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60000"/>
                  <a:lumOff val="40000"/>
                </a:schemeClr>
              </a:solidFill>
              <a:ln w="9525">
                <a:solidFill>
                  <a:schemeClr val="accent3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3245935997577379E-2"/>
                  <c:y val="-4.6663727219283203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9</c:f>
              <c:numCache>
                <c:formatCode>0.0%</c:formatCode>
                <c:ptCount val="1"/>
                <c:pt idx="0">
                  <c:v>0.69599999999999995</c:v>
                </c:pt>
              </c:numCache>
            </c:numRef>
          </c:xVal>
          <c:yVal>
            <c:numRef>
              <c:f>List1!$A$29</c:f>
              <c:numCache>
                <c:formatCode>0.0%</c:formatCode>
                <c:ptCount val="1"/>
                <c:pt idx="0">
                  <c:v>0.6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8-9149-402E-9150-02BFAEF7D23C}"/>
            </c:ext>
          </c:extLst>
        </c:ser>
        <c:ser>
          <c:idx val="27"/>
          <c:order val="28"/>
          <c:tx>
            <c:strRef>
              <c:f>List1!$C$30</c:f>
              <c:strCache>
                <c:ptCount val="1"/>
                <c:pt idx="0">
                  <c:v>E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60000"/>
                  <a:lumOff val="40000"/>
                </a:schemeClr>
              </a:solidFill>
              <a:ln w="9525">
                <a:solidFill>
                  <a:schemeClr val="accent4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8.4205059380943591E-3"/>
                  <c:y val="1.6332304526748949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30</c:f>
              <c:numCache>
                <c:formatCode>0.0%</c:formatCode>
                <c:ptCount val="1"/>
                <c:pt idx="0">
                  <c:v>0.92800000000000005</c:v>
                </c:pt>
              </c:numCache>
            </c:numRef>
          </c:xVal>
          <c:yVal>
            <c:numRef>
              <c:f>List1!$A$30</c:f>
              <c:numCache>
                <c:formatCode>0.0%</c:formatCode>
                <c:ptCount val="1"/>
                <c:pt idx="0">
                  <c:v>0.8549999999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9-9149-402E-9150-02BFAEF7D23C}"/>
            </c:ext>
          </c:extLst>
        </c:ser>
        <c:ser>
          <c:idx val="30"/>
          <c:order val="29"/>
          <c:tx>
            <c:strRef>
              <c:f>List1!$C$31</c:f>
              <c:strCache>
                <c:ptCount val="1"/>
                <c:pt idx="0">
                  <c:v>S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50000"/>
                </a:schemeClr>
              </a:solidFill>
              <a:ln w="9525">
                <a:solidFill>
                  <a:schemeClr val="accent1">
                    <a:lumMod val="5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6.1395762332042081E-2"/>
                  <c:y val="-3.0331422692533805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2D7-4442-BA00-D1571E62952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31</c:f>
              <c:numCache>
                <c:formatCode>0.0%</c:formatCode>
                <c:ptCount val="1"/>
                <c:pt idx="0">
                  <c:v>0.876</c:v>
                </c:pt>
              </c:numCache>
            </c:numRef>
          </c:xVal>
          <c:yVal>
            <c:numRef>
              <c:f>List1!$A$31</c:f>
              <c:numCache>
                <c:formatCode>0.0%</c:formatCode>
                <c:ptCount val="1"/>
                <c:pt idx="0">
                  <c:v>0.8489999999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2-8DBA-474B-976E-F746759762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59293520"/>
        <c:axId val="359288424"/>
      </c:scatterChart>
      <c:valAx>
        <c:axId val="359293520"/>
        <c:scaling>
          <c:orientation val="minMax"/>
          <c:max val="1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8424"/>
        <c:crosses val="autoZero"/>
        <c:crossBetween val="midCat"/>
      </c:valAx>
      <c:valAx>
        <c:axId val="359288424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9352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4.725794487389709E-2"/>
          <c:w val="0.91393290618325784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mrtnos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C7-4F71-B6A6-584BFB277F2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8C7-4F71-B6A6-584BFB277F2C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8C7-4F71-B6A6-584BFB277F2C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8C7-4F71-B6A6-584BFB277F2C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8C7-4F71-B6A6-584BFB277F2C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8C7-4F71-B6A6-584BFB277F2C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8C7-4F71-B6A6-584BFB277F2C}"/>
              </c:ext>
            </c:extLst>
          </c:dPt>
          <c:cat>
            <c:strRef>
              <c:f>List1!$A$2:$A$31</c:f>
              <c:strCache>
                <c:ptCount val="30"/>
                <c:pt idx="0">
                  <c:v>Island</c:v>
                </c:pt>
                <c:pt idx="1">
                  <c:v>Dánsko</c:v>
                </c:pt>
                <c:pt idx="2">
                  <c:v>Irsko</c:v>
                </c:pt>
                <c:pt idx="3">
                  <c:v>Rakousko</c:v>
                </c:pt>
                <c:pt idx="4">
                  <c:v>Malta</c:v>
                </c:pt>
                <c:pt idx="5">
                  <c:v>Belgie</c:v>
                </c:pt>
                <c:pt idx="6">
                  <c:v>Německo</c:v>
                </c:pt>
                <c:pt idx="7">
                  <c:v>Francie</c:v>
                </c:pt>
                <c:pt idx="8">
                  <c:v>Kypr</c:v>
                </c:pt>
                <c:pt idx="9">
                  <c:v>Lucembursko</c:v>
                </c:pt>
                <c:pt idx="10">
                  <c:v>Řecko</c:v>
                </c:pt>
                <c:pt idx="11">
                  <c:v>Maďarsko</c:v>
                </c:pt>
                <c:pt idx="12">
                  <c:v>Itálie</c:v>
                </c:pt>
                <c:pt idx="13">
                  <c:v>Lichtenštejnsko</c:v>
                </c:pt>
                <c:pt idx="14">
                  <c:v>Norsko</c:v>
                </c:pt>
                <c:pt idx="15">
                  <c:v>Portugalsko</c:v>
                </c:pt>
                <c:pt idx="16">
                  <c:v>Nizozemsko</c:v>
                </c:pt>
                <c:pt idx="17">
                  <c:v>Švédsko</c:v>
                </c:pt>
                <c:pt idx="18">
                  <c:v>Česká republika</c:v>
                </c:pt>
                <c:pt idx="19">
                  <c:v>Litva</c:v>
                </c:pt>
                <c:pt idx="20">
                  <c:v>Estonsko</c:v>
                </c:pt>
                <c:pt idx="21">
                  <c:v>Finsko</c:v>
                </c:pt>
                <c:pt idx="22">
                  <c:v>Slovinsko</c:v>
                </c:pt>
                <c:pt idx="23">
                  <c:v>Polsko</c:v>
                </c:pt>
                <c:pt idx="24">
                  <c:v>Slovensko</c:v>
                </c:pt>
                <c:pt idx="25">
                  <c:v>Lotyšsko</c:v>
                </c:pt>
                <c:pt idx="26">
                  <c:v>Španělsko</c:v>
                </c:pt>
                <c:pt idx="27">
                  <c:v>Chorvatsko</c:v>
                </c:pt>
                <c:pt idx="28">
                  <c:v>Rumunsko</c:v>
                </c:pt>
                <c:pt idx="29">
                  <c:v>Bulharsko</c:v>
                </c:pt>
              </c:strCache>
            </c:strRef>
          </c:cat>
          <c:val>
            <c:numRef>
              <c:f>List1!$B$2:$B$31</c:f>
              <c:numCache>
                <c:formatCode>0.0%</c:formatCode>
                <c:ptCount val="30"/>
                <c:pt idx="0">
                  <c:v>0.69699999999999995</c:v>
                </c:pt>
                <c:pt idx="1">
                  <c:v>0.63400000000000001</c:v>
                </c:pt>
                <c:pt idx="2">
                  <c:v>0.58299999999999996</c:v>
                </c:pt>
                <c:pt idx="3">
                  <c:v>0.53800000000000003</c:v>
                </c:pt>
                <c:pt idx="4">
                  <c:v>0.53100000000000003</c:v>
                </c:pt>
                <c:pt idx="5">
                  <c:v>0.48099999999999998</c:v>
                </c:pt>
                <c:pt idx="6">
                  <c:v>0.46800000000000003</c:v>
                </c:pt>
                <c:pt idx="7">
                  <c:v>0.45900000000000002</c:v>
                </c:pt>
                <c:pt idx="8">
                  <c:v>0.41199999999999998</c:v>
                </c:pt>
                <c:pt idx="9">
                  <c:v>0.40600000000000003</c:v>
                </c:pt>
                <c:pt idx="10">
                  <c:v>0.40400000000000003</c:v>
                </c:pt>
                <c:pt idx="11">
                  <c:v>0.39</c:v>
                </c:pt>
                <c:pt idx="12">
                  <c:v>0.38100000000000001</c:v>
                </c:pt>
                <c:pt idx="13">
                  <c:v>0.378</c:v>
                </c:pt>
                <c:pt idx="14">
                  <c:v>0.36599999999999999</c:v>
                </c:pt>
                <c:pt idx="15">
                  <c:v>0.34899999999999998</c:v>
                </c:pt>
                <c:pt idx="16">
                  <c:v>0.33400000000000002</c:v>
                </c:pt>
                <c:pt idx="17">
                  <c:v>0.309</c:v>
                </c:pt>
                <c:pt idx="18">
                  <c:v>0.27800000000000002</c:v>
                </c:pt>
                <c:pt idx="19">
                  <c:v>0.27500000000000002</c:v>
                </c:pt>
                <c:pt idx="20">
                  <c:v>0.27200000000000002</c:v>
                </c:pt>
                <c:pt idx="21">
                  <c:v>0.27100000000000002</c:v>
                </c:pt>
                <c:pt idx="22">
                  <c:v>0.27100000000000002</c:v>
                </c:pt>
                <c:pt idx="23">
                  <c:v>0.23200000000000001</c:v>
                </c:pt>
                <c:pt idx="24">
                  <c:v>0.22700000000000001</c:v>
                </c:pt>
                <c:pt idx="25">
                  <c:v>0.16300000000000001</c:v>
                </c:pt>
                <c:pt idx="26">
                  <c:v>0.158</c:v>
                </c:pt>
                <c:pt idx="27">
                  <c:v>0.157</c:v>
                </c:pt>
                <c:pt idx="28">
                  <c:v>7.2999999999999995E-2</c:v>
                </c:pt>
                <c:pt idx="29">
                  <c:v>5.1999999999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9289600"/>
        <c:axId val="359286464"/>
      </c:barChart>
      <c:catAx>
        <c:axId val="3592896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6464"/>
        <c:crosses val="autoZero"/>
        <c:auto val="1"/>
        <c:lblAlgn val="ctr"/>
        <c:lblOffset val="100"/>
        <c:noMultiLvlLbl val="0"/>
      </c:catAx>
      <c:valAx>
        <c:axId val="359286464"/>
        <c:scaling>
          <c:orientation val="minMax"/>
          <c:max val="1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96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147262593113503E-2"/>
          <c:y val="4.8800639884654412E-2"/>
          <c:w val="0.86121607542845235"/>
          <c:h val="0.82460070750847803"/>
        </c:manualLayout>
      </c:layout>
      <c:scatterChart>
        <c:scatterStyle val="lineMarker"/>
        <c:varyColors val="0"/>
        <c:ser>
          <c:idx val="0"/>
          <c:order val="0"/>
          <c:tx>
            <c:strRef>
              <c:f>List1!$C$3</c:f>
              <c:strCache>
                <c:ptCount val="1"/>
                <c:pt idx="0">
                  <c:v>B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0070C0"/>
              </a:solidFill>
              <a:ln w="9525">
                <a:solidFill>
                  <a:srgbClr val="0070C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1577307703388237E-2"/>
                  <c:y val="4.6663727219282561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3</c:f>
              <c:numCache>
                <c:formatCode>0.0%</c:formatCode>
                <c:ptCount val="1"/>
                <c:pt idx="0">
                  <c:v>0.48099999999999998</c:v>
                </c:pt>
              </c:numCache>
            </c:numRef>
          </c:xVal>
          <c:yVal>
            <c:numRef>
              <c:f>List1!$A$3</c:f>
              <c:numCache>
                <c:formatCode>0.0%</c:formatCode>
                <c:ptCount val="1"/>
                <c:pt idx="0">
                  <c:v>0.882000000000000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45A2-44FB-8F7B-9BC1EF59F5D8}"/>
            </c:ext>
          </c:extLst>
        </c:ser>
        <c:ser>
          <c:idx val="1"/>
          <c:order val="1"/>
          <c:tx>
            <c:strRef>
              <c:f>List1!$C$2</c:f>
              <c:strCache>
                <c:ptCount val="1"/>
                <c:pt idx="0">
                  <c:v>A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0070C0"/>
              </a:solidFill>
              <a:ln w="9525">
                <a:solidFill>
                  <a:srgbClr val="0070C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9863632793851782E-2"/>
                  <c:y val="1.3999118165784832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670-40CC-87AC-1F8CD69998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</c:f>
              <c:numCache>
                <c:formatCode>0.0%</c:formatCode>
                <c:ptCount val="1"/>
                <c:pt idx="0">
                  <c:v>0.53800000000000003</c:v>
                </c:pt>
              </c:numCache>
            </c:numRef>
          </c:xVal>
          <c:yVal>
            <c:numRef>
              <c:f>List1!$A$2</c:f>
              <c:numCache>
                <c:formatCode>0.0%</c:formatCode>
                <c:ptCount val="1"/>
                <c:pt idx="0">
                  <c:v>0.8010000000000000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45A2-44FB-8F7B-9BC1EF59F5D8}"/>
            </c:ext>
          </c:extLst>
        </c:ser>
        <c:ser>
          <c:idx val="2"/>
          <c:order val="2"/>
          <c:tx>
            <c:strRef>
              <c:f>List1!$C$4</c:f>
              <c:strCache>
                <c:ptCount val="1"/>
                <c:pt idx="0">
                  <c:v>BG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1347606396832839E-2"/>
                  <c:y val="2.333186360964096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2D7-4442-BA00-D1571E62952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4</c:f>
              <c:numCache>
                <c:formatCode>0.0%</c:formatCode>
                <c:ptCount val="1"/>
                <c:pt idx="0">
                  <c:v>5.1999999999999998E-2</c:v>
                </c:pt>
              </c:numCache>
            </c:numRef>
          </c:xVal>
          <c:yVal>
            <c:numRef>
              <c:f>List1!$A$4</c:f>
              <c:numCache>
                <c:formatCode>0.0%</c:formatCode>
                <c:ptCount val="1"/>
                <c:pt idx="0">
                  <c:v>0.331000000000000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9149-402E-9150-02BFAEF7D23C}"/>
            </c:ext>
          </c:extLst>
        </c:ser>
        <c:ser>
          <c:idx val="3"/>
          <c:order val="3"/>
          <c:tx>
            <c:strRef>
              <c:f>List1!$C$5</c:f>
              <c:strCache>
                <c:ptCount val="1"/>
                <c:pt idx="0">
                  <c:v>HR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127526924636813E-2"/>
                  <c:y val="4.6663727219282778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5</c:f>
              <c:numCache>
                <c:formatCode>0.0%</c:formatCode>
                <c:ptCount val="1"/>
                <c:pt idx="0">
                  <c:v>0.157</c:v>
                </c:pt>
              </c:numCache>
            </c:numRef>
          </c:xVal>
          <c:yVal>
            <c:numRef>
              <c:f>List1!$A$5</c:f>
              <c:numCache>
                <c:formatCode>0.0%</c:formatCode>
                <c:ptCount val="1"/>
                <c:pt idx="0">
                  <c:v>0.631000000000000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9149-402E-9150-02BFAEF7D23C}"/>
            </c:ext>
          </c:extLst>
        </c:ser>
        <c:ser>
          <c:idx val="4"/>
          <c:order val="4"/>
          <c:tx>
            <c:strRef>
              <c:f>List1!$C$6</c:f>
              <c:strCache>
                <c:ptCount val="1"/>
                <c:pt idx="0">
                  <c:v>CY</c:v>
                </c:pt>
              </c:strCache>
            </c:strRef>
          </c:tx>
          <c:spPr>
            <a:ln w="2540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tx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8341782560988816E-2"/>
                  <c:y val="-4.6663727219283203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6</c:f>
              <c:numCache>
                <c:formatCode>0.0%</c:formatCode>
                <c:ptCount val="1"/>
                <c:pt idx="0">
                  <c:v>0.41199999999999998</c:v>
                </c:pt>
              </c:numCache>
            </c:numRef>
          </c:xVal>
          <c:yVal>
            <c:numRef>
              <c:f>List1!$A$6</c:f>
              <c:numCache>
                <c:formatCode>0.0%</c:formatCode>
                <c:ptCount val="1"/>
                <c:pt idx="0">
                  <c:v>0.8469999999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9149-402E-9150-02BFAEF7D23C}"/>
            </c:ext>
          </c:extLst>
        </c:ser>
        <c:ser>
          <c:idx val="5"/>
          <c:order val="5"/>
          <c:tx>
            <c:strRef>
              <c:f>List1!$C$7</c:f>
              <c:strCache>
                <c:ptCount val="1"/>
                <c:pt idx="0">
                  <c:v>CZ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6393159618247595E-2"/>
                  <c:y val="-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7</c:f>
              <c:numCache>
                <c:formatCode>0.0%</c:formatCode>
                <c:ptCount val="1"/>
                <c:pt idx="0">
                  <c:v>0.27800000000000002</c:v>
                </c:pt>
              </c:numCache>
            </c:numRef>
          </c:xVal>
          <c:yVal>
            <c:numRef>
              <c:f>List1!$A$7</c:f>
              <c:numCache>
                <c:formatCode>0.0%</c:formatCode>
                <c:ptCount val="1"/>
                <c:pt idx="0">
                  <c:v>0.7279999999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9149-402E-9150-02BFAEF7D23C}"/>
            </c:ext>
          </c:extLst>
        </c:ser>
        <c:ser>
          <c:idx val="6"/>
          <c:order val="6"/>
          <c:tx>
            <c:strRef>
              <c:f>List1!$C$8</c:f>
              <c:strCache>
                <c:ptCount val="1"/>
                <c:pt idx="0">
                  <c:v>DK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</a:schemeClr>
              </a:solidFill>
              <a:ln w="9525">
                <a:solidFill>
                  <a:schemeClr val="accent1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1543762491480503E-2"/>
                  <c:y val="1.8665490887713111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38A-4224-89D1-2C7D3FE02E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8</c:f>
              <c:numCache>
                <c:formatCode>0.0%</c:formatCode>
                <c:ptCount val="1"/>
                <c:pt idx="0">
                  <c:v>0.63400000000000001</c:v>
                </c:pt>
              </c:numCache>
            </c:numRef>
          </c:xVal>
          <c:yVal>
            <c:numRef>
              <c:f>List1!$A$8</c:f>
              <c:numCache>
                <c:formatCode>0.0%</c:formatCode>
                <c:ptCount val="1"/>
                <c:pt idx="0">
                  <c:v>0.987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9149-402E-9150-02BFAEF7D23C}"/>
            </c:ext>
          </c:extLst>
        </c:ser>
        <c:ser>
          <c:idx val="7"/>
          <c:order val="7"/>
          <c:tx>
            <c:strRef>
              <c:f>List1!$C$9</c:f>
              <c:strCache>
                <c:ptCount val="1"/>
                <c:pt idx="0">
                  <c:v>E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60000"/>
                </a:schemeClr>
              </a:solidFill>
              <a:ln w="9525">
                <a:solidFill>
                  <a:schemeClr val="accent2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4535669150020898E-3"/>
                  <c:y val="4.666372721928277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9</c:f>
              <c:numCache>
                <c:formatCode>0.0%</c:formatCode>
                <c:ptCount val="1"/>
                <c:pt idx="0">
                  <c:v>0.27200000000000002</c:v>
                </c:pt>
              </c:numCache>
            </c:numRef>
          </c:xVal>
          <c:yVal>
            <c:numRef>
              <c:f>List1!$A$9</c:f>
              <c:numCache>
                <c:formatCode>0.0%</c:formatCode>
                <c:ptCount val="1"/>
                <c:pt idx="0">
                  <c:v>0.7019999999999999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9149-402E-9150-02BFAEF7D23C}"/>
            </c:ext>
          </c:extLst>
        </c:ser>
        <c:ser>
          <c:idx val="8"/>
          <c:order val="8"/>
          <c:tx>
            <c:strRef>
              <c:f>List1!$C$10</c:f>
              <c:strCache>
                <c:ptCount val="1"/>
                <c:pt idx="0">
                  <c:v>FI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60000"/>
                </a:schemeClr>
              </a:solidFill>
              <a:ln w="9525">
                <a:solidFill>
                  <a:schemeClr val="accent3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311162360009582E-2"/>
                  <c:y val="-4.6663727219282986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38A-4224-89D1-2C7D3FE02E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0</c:f>
              <c:numCache>
                <c:formatCode>0.0%</c:formatCode>
                <c:ptCount val="1"/>
                <c:pt idx="0">
                  <c:v>0.27100000000000002</c:v>
                </c:pt>
              </c:numCache>
            </c:numRef>
          </c:xVal>
          <c:yVal>
            <c:numRef>
              <c:f>List1!$A$10</c:f>
              <c:numCache>
                <c:formatCode>0.0%</c:formatCode>
                <c:ptCount val="1"/>
                <c:pt idx="0">
                  <c:v>0.862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9149-402E-9150-02BFAEF7D23C}"/>
            </c:ext>
          </c:extLst>
        </c:ser>
        <c:ser>
          <c:idx val="9"/>
          <c:order val="9"/>
          <c:tx>
            <c:strRef>
              <c:f>List1!$C$11</c:f>
              <c:strCache>
                <c:ptCount val="1"/>
                <c:pt idx="0">
                  <c:v>FR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60000"/>
                </a:schemeClr>
              </a:solidFill>
              <a:ln w="9525">
                <a:solidFill>
                  <a:schemeClr val="accent4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1465039114374831E-2"/>
                  <c:y val="-6.9995590828924375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1</c:f>
              <c:numCache>
                <c:formatCode>0.0%</c:formatCode>
                <c:ptCount val="1"/>
                <c:pt idx="0">
                  <c:v>0.45900000000000002</c:v>
                </c:pt>
              </c:numCache>
            </c:numRef>
          </c:xVal>
          <c:yVal>
            <c:numRef>
              <c:f>List1!$A$11</c:f>
              <c:numCache>
                <c:formatCode>0.0%</c:formatCode>
                <c:ptCount val="1"/>
                <c:pt idx="0">
                  <c:v>0.87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7-9149-402E-9150-02BFAEF7D23C}"/>
            </c:ext>
          </c:extLst>
        </c:ser>
        <c:ser>
          <c:idx val="10"/>
          <c:order val="10"/>
          <c:tx>
            <c:strRef>
              <c:f>List1!$C$12</c:f>
              <c:strCache>
                <c:ptCount val="1"/>
                <c:pt idx="0">
                  <c:v>D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60000"/>
                </a:schemeClr>
              </a:solidFill>
              <a:ln w="9525">
                <a:solidFill>
                  <a:schemeClr val="accent5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9157103540651073E-2"/>
                  <c:y val="1.9330540858318635E-2"/>
                </c:manualLayout>
              </c:layout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2</c:f>
              <c:numCache>
                <c:formatCode>0.0%</c:formatCode>
                <c:ptCount val="1"/>
                <c:pt idx="0">
                  <c:v>0.46800000000000003</c:v>
                </c:pt>
              </c:numCache>
            </c:numRef>
          </c:xVal>
          <c:yVal>
            <c:numRef>
              <c:f>List1!$A$12</c:f>
              <c:numCache>
                <c:formatCode>0.0%</c:formatCode>
                <c:ptCount val="1"/>
                <c:pt idx="0">
                  <c:v>0.8519999999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9149-402E-9150-02BFAEF7D23C}"/>
            </c:ext>
          </c:extLst>
        </c:ser>
        <c:ser>
          <c:idx val="11"/>
          <c:order val="11"/>
          <c:tx>
            <c:strRef>
              <c:f>List1!$C$13</c:f>
              <c:strCache>
                <c:ptCount val="1"/>
                <c:pt idx="0">
                  <c:v>E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60000"/>
                </a:schemeClr>
              </a:solidFill>
              <a:ln w="9525">
                <a:solidFill>
                  <a:schemeClr val="accent6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1476672067665034E-2"/>
                  <c:y val="1.399911816578479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B66-49F0-87A3-3B9192B845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3</c:f>
              <c:numCache>
                <c:formatCode>0.0%</c:formatCode>
                <c:ptCount val="1"/>
                <c:pt idx="0">
                  <c:v>0.40400000000000003</c:v>
                </c:pt>
              </c:numCache>
            </c:numRef>
          </c:xVal>
          <c:yVal>
            <c:numRef>
              <c:f>List1!$A$13</c:f>
              <c:numCache>
                <c:formatCode>0.0%</c:formatCode>
                <c:ptCount val="1"/>
                <c:pt idx="0">
                  <c:v>0.767000000000000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9149-402E-9150-02BFAEF7D23C}"/>
            </c:ext>
          </c:extLst>
        </c:ser>
        <c:ser>
          <c:idx val="12"/>
          <c:order val="12"/>
          <c:tx>
            <c:strRef>
              <c:f>List1!$C$14</c:f>
              <c:strCache>
                <c:ptCount val="1"/>
                <c:pt idx="0">
                  <c:v>HU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80000"/>
                  <a:lumOff val="20000"/>
                </a:schemeClr>
              </a:solidFill>
              <a:ln w="9525">
                <a:solidFill>
                  <a:schemeClr val="accent1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3387377081463958E-2"/>
                  <c:y val="-4.2774589148638603E-17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4</c:f>
              <c:numCache>
                <c:formatCode>0.0%</c:formatCode>
                <c:ptCount val="1"/>
                <c:pt idx="0">
                  <c:v>0.39</c:v>
                </c:pt>
              </c:numCache>
            </c:numRef>
          </c:xVal>
          <c:yVal>
            <c:numRef>
              <c:f>List1!$A$14</c:f>
              <c:numCache>
                <c:formatCode>0.0%</c:formatCode>
                <c:ptCount val="1"/>
                <c:pt idx="0">
                  <c:v>0.696999999999999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A-9149-402E-9150-02BFAEF7D23C}"/>
            </c:ext>
          </c:extLst>
        </c:ser>
        <c:ser>
          <c:idx val="13"/>
          <c:order val="13"/>
          <c:tx>
            <c:strRef>
              <c:f>List1!$C$15</c:f>
              <c:strCache>
                <c:ptCount val="1"/>
                <c:pt idx="0">
                  <c:v>I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80000"/>
                  <a:lumOff val="20000"/>
                </a:schemeClr>
              </a:solidFill>
              <a:ln w="9525">
                <a:solidFill>
                  <a:schemeClr val="accent2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8.2863250904636667E-3"/>
                  <c:y val="0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5</c:f>
              <c:numCache>
                <c:formatCode>0.0%</c:formatCode>
                <c:ptCount val="1"/>
                <c:pt idx="0">
                  <c:v>0.69699999999999995</c:v>
                </c:pt>
              </c:numCache>
            </c:numRef>
          </c:xVal>
          <c:yVal>
            <c:numRef>
              <c:f>List1!$A$15</c:f>
              <c:numCache>
                <c:formatCode>0.0%</c:formatCode>
                <c:ptCount val="1"/>
                <c:pt idx="0">
                  <c:v>0.919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B-9149-402E-9150-02BFAEF7D23C}"/>
            </c:ext>
          </c:extLst>
        </c:ser>
        <c:ser>
          <c:idx val="14"/>
          <c:order val="14"/>
          <c:tx>
            <c:strRef>
              <c:f>List1!$C$16</c:f>
              <c:strCache>
                <c:ptCount val="1"/>
                <c:pt idx="0">
                  <c:v>I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80000"/>
                  <a:lumOff val="20000"/>
                </a:schemeClr>
              </a:solidFill>
              <a:ln w="9525">
                <a:solidFill>
                  <a:schemeClr val="accent3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3255382592350299E-2"/>
                  <c:y val="-2.333186360964138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6</c:f>
              <c:numCache>
                <c:formatCode>0.0%</c:formatCode>
                <c:ptCount val="1"/>
                <c:pt idx="0">
                  <c:v>0.58299999999999996</c:v>
                </c:pt>
              </c:numCache>
            </c:numRef>
          </c:xVal>
          <c:yVal>
            <c:numRef>
              <c:f>List1!$A$16</c:f>
              <c:numCache>
                <c:formatCode>0.0%</c:formatCode>
                <c:ptCount val="1"/>
                <c:pt idx="0">
                  <c:v>0.9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C-9149-402E-9150-02BFAEF7D23C}"/>
            </c:ext>
          </c:extLst>
        </c:ser>
        <c:ser>
          <c:idx val="15"/>
          <c:order val="15"/>
          <c:tx>
            <c:strRef>
              <c:f>List1!$C$17</c:f>
              <c:strCache>
                <c:ptCount val="1"/>
                <c:pt idx="0">
                  <c:v>I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80000"/>
                  <a:lumOff val="20000"/>
                </a:schemeClr>
              </a:solidFill>
              <a:ln w="9525">
                <a:solidFill>
                  <a:schemeClr val="accent4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3675972459249415E-2"/>
                  <c:y val="-2.9980526161081716E-3"/>
                </c:manualLayout>
              </c:layout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"/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7</c:f>
              <c:numCache>
                <c:formatCode>0.0%</c:formatCode>
                <c:ptCount val="1"/>
                <c:pt idx="0">
                  <c:v>0.38100000000000001</c:v>
                </c:pt>
              </c:numCache>
            </c:numRef>
          </c:xVal>
          <c:yVal>
            <c:numRef>
              <c:f>List1!$A$17</c:f>
              <c:numCache>
                <c:formatCode>0.0%</c:formatCode>
                <c:ptCount val="1"/>
                <c:pt idx="0">
                  <c:v>0.8359999999999999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D-9149-402E-9150-02BFAEF7D23C}"/>
            </c:ext>
          </c:extLst>
        </c:ser>
        <c:ser>
          <c:idx val="16"/>
          <c:order val="16"/>
          <c:tx>
            <c:strRef>
              <c:f>List1!$C$18</c:f>
              <c:strCache>
                <c:ptCount val="1"/>
                <c:pt idx="0">
                  <c:v>LV</c:v>
                </c:pt>
              </c:strCache>
            </c:strRef>
          </c:tx>
          <c:spPr>
            <a:ln w="2540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80000"/>
                  <a:lumOff val="20000"/>
                </a:schemeClr>
              </a:solidFill>
              <a:ln w="9525">
                <a:solidFill>
                  <a:schemeClr val="tx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6253773343027682E-2"/>
                  <c:y val="1.6332304526748928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670-40CC-87AC-1F8CD69998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8</c:f>
              <c:numCache>
                <c:formatCode>0.0%</c:formatCode>
                <c:ptCount val="1"/>
                <c:pt idx="0">
                  <c:v>0.16300000000000001</c:v>
                </c:pt>
              </c:numCache>
            </c:numRef>
          </c:xVal>
          <c:yVal>
            <c:numRef>
              <c:f>List1!$A$18</c:f>
              <c:numCache>
                <c:formatCode>0.0%</c:formatCode>
                <c:ptCount val="1"/>
                <c:pt idx="0">
                  <c:v>0.741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E-9149-402E-9150-02BFAEF7D23C}"/>
            </c:ext>
          </c:extLst>
        </c:ser>
        <c:ser>
          <c:idx val="28"/>
          <c:order val="17"/>
          <c:tx>
            <c:strRef>
              <c:f>List1!$C$19</c:f>
              <c:strCache>
                <c:ptCount val="1"/>
                <c:pt idx="0">
                  <c:v>LI</c:v>
                </c:pt>
              </c:strCache>
            </c:strRef>
          </c:tx>
          <c:spPr>
            <a:ln w="25400" cap="rnd">
              <a:solidFill>
                <a:schemeClr val="accent1">
                  <a:lumMod val="7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75000"/>
                </a:schemeClr>
              </a:solidFill>
              <a:ln w="9525">
                <a:solidFill>
                  <a:schemeClr val="accent1">
                    <a:lumMod val="75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7388985409937612E-3"/>
                  <c:y val="6.999559082892415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9</c:f>
              <c:numCache>
                <c:formatCode>0.0%</c:formatCode>
                <c:ptCount val="1"/>
                <c:pt idx="0">
                  <c:v>0.378</c:v>
                </c:pt>
              </c:numCache>
            </c:numRef>
          </c:xVal>
          <c:yVal>
            <c:numRef>
              <c:f>List1!$A$19</c:f>
              <c:numCache>
                <c:formatCode>0.0%</c:formatCode>
                <c:ptCount val="1"/>
                <c:pt idx="0">
                  <c:v>0.7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970D-44E3-9271-C9D0012D0ABC}"/>
            </c:ext>
          </c:extLst>
        </c:ser>
        <c:ser>
          <c:idx val="17"/>
          <c:order val="18"/>
          <c:tx>
            <c:strRef>
              <c:f>List1!$C$20</c:f>
              <c:strCache>
                <c:ptCount val="1"/>
                <c:pt idx="0">
                  <c:v>L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80000"/>
                  <a:lumOff val="20000"/>
                </a:schemeClr>
              </a:solidFill>
              <a:ln w="9525">
                <a:solidFill>
                  <a:schemeClr val="accent6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1431493902467101E-2"/>
                  <c:y val="-6.999559082892415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0</c:f>
              <c:numCache>
                <c:formatCode>0.0%</c:formatCode>
                <c:ptCount val="1"/>
                <c:pt idx="0">
                  <c:v>0.27500000000000002</c:v>
                </c:pt>
              </c:numCache>
            </c:numRef>
          </c:xVal>
          <c:yVal>
            <c:numRef>
              <c:f>List1!$A$20</c:f>
              <c:numCache>
                <c:formatCode>0.0%</c:formatCode>
                <c:ptCount val="1"/>
                <c:pt idx="0">
                  <c:v>0.7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F-9149-402E-9150-02BFAEF7D23C}"/>
            </c:ext>
          </c:extLst>
        </c:ser>
        <c:ser>
          <c:idx val="18"/>
          <c:order val="19"/>
          <c:tx>
            <c:strRef>
              <c:f>List1!$C$21</c:f>
              <c:strCache>
                <c:ptCount val="1"/>
                <c:pt idx="0">
                  <c:v>LU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80000"/>
                </a:schemeClr>
              </a:solidFill>
              <a:ln w="9525">
                <a:solidFill>
                  <a:schemeClr val="accent1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7220601601146466E-3"/>
                  <c:y val="-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1</c:f>
              <c:numCache>
                <c:formatCode>0.0%</c:formatCode>
                <c:ptCount val="1"/>
                <c:pt idx="0">
                  <c:v>0.40600000000000003</c:v>
                </c:pt>
              </c:numCache>
            </c:numRef>
          </c:xVal>
          <c:yVal>
            <c:numRef>
              <c:f>List1!$A$21</c:f>
              <c:numCache>
                <c:formatCode>0.0%</c:formatCode>
                <c:ptCount val="1"/>
                <c:pt idx="0">
                  <c:v>0.798000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0-9149-402E-9150-02BFAEF7D23C}"/>
            </c:ext>
          </c:extLst>
        </c:ser>
        <c:ser>
          <c:idx val="19"/>
          <c:order val="20"/>
          <c:tx>
            <c:strRef>
              <c:f>List1!$C$22</c:f>
              <c:strCache>
                <c:ptCount val="1"/>
                <c:pt idx="0">
                  <c:v>M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80000"/>
                </a:schemeClr>
              </a:solidFill>
              <a:ln w="9525">
                <a:solidFill>
                  <a:schemeClr val="accent2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9676224245663555E-2"/>
                  <c:y val="-7.6644253380364494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2</c:f>
              <c:numCache>
                <c:formatCode>0.0%</c:formatCode>
                <c:ptCount val="1"/>
                <c:pt idx="0">
                  <c:v>0.53100000000000003</c:v>
                </c:pt>
              </c:numCache>
            </c:numRef>
          </c:xVal>
          <c:yVal>
            <c:numRef>
              <c:f>List1!$A$22</c:f>
              <c:numCache>
                <c:formatCode>0.0%</c:formatCode>
                <c:ptCount val="1"/>
                <c:pt idx="0">
                  <c:v>0.9290000000000000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1-9149-402E-9150-02BFAEF7D23C}"/>
            </c:ext>
          </c:extLst>
        </c:ser>
        <c:ser>
          <c:idx val="20"/>
          <c:order val="21"/>
          <c:tx>
            <c:strRef>
              <c:f>List1!$C$23</c:f>
              <c:strCache>
                <c:ptCount val="1"/>
                <c:pt idx="0">
                  <c:v>N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80000"/>
                </a:schemeClr>
              </a:solidFill>
              <a:ln w="9525">
                <a:solidFill>
                  <a:schemeClr val="accent3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4691117662001338E-2"/>
                  <c:y val="2.0998677248677249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670-40CC-87AC-1F8CD69998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3</c:f>
              <c:numCache>
                <c:formatCode>0.0%</c:formatCode>
                <c:ptCount val="1"/>
                <c:pt idx="0">
                  <c:v>0.33400000000000002</c:v>
                </c:pt>
              </c:numCache>
            </c:numRef>
          </c:xVal>
          <c:yVal>
            <c:numRef>
              <c:f>List1!$A$23</c:f>
              <c:numCache>
                <c:formatCode>0.0%</c:formatCode>
                <c:ptCount val="1"/>
                <c:pt idx="0">
                  <c:v>0.820999999999999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2-9149-402E-9150-02BFAEF7D23C}"/>
            </c:ext>
          </c:extLst>
        </c:ser>
        <c:ser>
          <c:idx val="21"/>
          <c:order val="22"/>
          <c:tx>
            <c:strRef>
              <c:f>List1!$C$24</c:f>
              <c:strCache>
                <c:ptCount val="1"/>
                <c:pt idx="0">
                  <c:v>NO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80000"/>
                </a:schemeClr>
              </a:solidFill>
              <a:ln w="9525">
                <a:solidFill>
                  <a:schemeClr val="accent4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5710409316044701E-3"/>
                  <c:y val="-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4</c:f>
              <c:numCache>
                <c:formatCode>0.0%</c:formatCode>
                <c:ptCount val="1"/>
                <c:pt idx="0">
                  <c:v>0.36599999999999999</c:v>
                </c:pt>
              </c:numCache>
            </c:numRef>
          </c:xVal>
          <c:yVal>
            <c:numRef>
              <c:f>List1!$A$24</c:f>
              <c:numCache>
                <c:formatCode>0.0%</c:formatCode>
                <c:ptCount val="1"/>
                <c:pt idx="0">
                  <c:v>0.898000000000000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3-9149-402E-9150-02BFAEF7D23C}"/>
            </c:ext>
          </c:extLst>
        </c:ser>
        <c:ser>
          <c:idx val="22"/>
          <c:order val="23"/>
          <c:tx>
            <c:strRef>
              <c:f>List1!$C$25</c:f>
              <c:strCache>
                <c:ptCount val="1"/>
                <c:pt idx="0">
                  <c:v>P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80000"/>
                </a:schemeClr>
              </a:solidFill>
              <a:ln w="25400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3.94923175544988E-2"/>
                  <c:y val="-4.6663727219283203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5</c:f>
              <c:numCache>
                <c:formatCode>0.0%</c:formatCode>
                <c:ptCount val="1"/>
                <c:pt idx="0">
                  <c:v>0.23200000000000001</c:v>
                </c:pt>
              </c:numCache>
            </c:numRef>
          </c:xVal>
          <c:yVal>
            <c:numRef>
              <c:f>List1!$A$25</c:f>
              <c:numCache>
                <c:formatCode>0.0%</c:formatCode>
                <c:ptCount val="1"/>
                <c:pt idx="0">
                  <c:v>0.645000000000000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4-9149-402E-9150-02BFAEF7D23C}"/>
            </c:ext>
          </c:extLst>
        </c:ser>
        <c:ser>
          <c:idx val="23"/>
          <c:order val="24"/>
          <c:tx>
            <c:strRef>
              <c:f>List1!$C$26</c:f>
              <c:strCache>
                <c:ptCount val="1"/>
                <c:pt idx="0">
                  <c:v>P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80000"/>
                </a:schemeClr>
              </a:solidFill>
              <a:ln w="9525">
                <a:solidFill>
                  <a:schemeClr val="accent6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9593084740072622E-2"/>
                  <c:y val="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38A-4224-89D1-2C7D3FE02E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6</c:f>
              <c:numCache>
                <c:formatCode>0.0%</c:formatCode>
                <c:ptCount val="1"/>
                <c:pt idx="0">
                  <c:v>0.34899999999999998</c:v>
                </c:pt>
              </c:numCache>
            </c:numRef>
          </c:xVal>
          <c:yVal>
            <c:numRef>
              <c:f>List1!$A$26</c:f>
              <c:numCache>
                <c:formatCode>0.0%</c:formatCode>
                <c:ptCount val="1"/>
                <c:pt idx="0">
                  <c:v>0.9310000000000000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5-9149-402E-9150-02BFAEF7D23C}"/>
            </c:ext>
          </c:extLst>
        </c:ser>
        <c:ser>
          <c:idx val="24"/>
          <c:order val="25"/>
          <c:tx>
            <c:strRef>
              <c:f>List1!$C$27</c:f>
              <c:strCache>
                <c:ptCount val="1"/>
                <c:pt idx="0">
                  <c:v>RO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  <a:lumOff val="40000"/>
                </a:schemeClr>
              </a:solidFill>
              <a:ln w="9525"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315465958222639E-2"/>
                  <c:y val="-1.63323045267489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B66-49F0-87A3-3B9192B845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7</c:f>
              <c:numCache>
                <c:formatCode>0.0%</c:formatCode>
                <c:ptCount val="1"/>
                <c:pt idx="0">
                  <c:v>7.2999999999999995E-2</c:v>
                </c:pt>
              </c:numCache>
            </c:numRef>
          </c:xVal>
          <c:yVal>
            <c:numRef>
              <c:f>List1!$A$27</c:f>
              <c:numCache>
                <c:formatCode>0.0%</c:formatCode>
                <c:ptCount val="1"/>
                <c:pt idx="0">
                  <c:v>0.484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6-9149-402E-9150-02BFAEF7D23C}"/>
            </c:ext>
          </c:extLst>
        </c:ser>
        <c:ser>
          <c:idx val="25"/>
          <c:order val="26"/>
          <c:tx>
            <c:strRef>
              <c:f>List1!$C$28</c:f>
              <c:strCache>
                <c:ptCount val="1"/>
                <c:pt idx="0">
                  <c:v>SK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60000"/>
                  <a:lumOff val="40000"/>
                </a:schemeClr>
              </a:solidFill>
              <a:ln w="9525">
                <a:solidFill>
                  <a:schemeClr val="accent2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9676881994916709E-2"/>
                  <c:y val="-1.63323045267489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8</c:f>
              <c:numCache>
                <c:formatCode>0.0%</c:formatCode>
                <c:ptCount val="1"/>
                <c:pt idx="0">
                  <c:v>0.22700000000000001</c:v>
                </c:pt>
              </c:numCache>
            </c:numRef>
          </c:xVal>
          <c:yVal>
            <c:numRef>
              <c:f>List1!$A$28</c:f>
              <c:numCache>
                <c:formatCode>0.0%</c:formatCode>
                <c:ptCount val="1"/>
                <c:pt idx="0">
                  <c:v>0.571999999999999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7-9149-402E-9150-02BFAEF7D23C}"/>
            </c:ext>
          </c:extLst>
        </c:ser>
        <c:ser>
          <c:idx val="26"/>
          <c:order val="27"/>
          <c:tx>
            <c:strRef>
              <c:f>List1!$C$29</c:f>
              <c:strCache>
                <c:ptCount val="1"/>
                <c:pt idx="0">
                  <c:v>SI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60000"/>
                  <a:lumOff val="40000"/>
                </a:schemeClr>
              </a:solidFill>
              <a:ln w="9525">
                <a:solidFill>
                  <a:schemeClr val="accent3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3245935997577379E-2"/>
                  <c:y val="-4.6663727219283203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9</c:f>
              <c:numCache>
                <c:formatCode>0.0%</c:formatCode>
                <c:ptCount val="1"/>
                <c:pt idx="0">
                  <c:v>0.27100000000000002</c:v>
                </c:pt>
              </c:numCache>
            </c:numRef>
          </c:xVal>
          <c:yVal>
            <c:numRef>
              <c:f>List1!$A$29</c:f>
              <c:numCache>
                <c:formatCode>0.0%</c:formatCode>
                <c:ptCount val="1"/>
                <c:pt idx="0">
                  <c:v>0.6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8-9149-402E-9150-02BFAEF7D23C}"/>
            </c:ext>
          </c:extLst>
        </c:ser>
        <c:ser>
          <c:idx val="27"/>
          <c:order val="28"/>
          <c:tx>
            <c:strRef>
              <c:f>List1!$C$30</c:f>
              <c:strCache>
                <c:ptCount val="1"/>
                <c:pt idx="0">
                  <c:v>E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60000"/>
                  <a:lumOff val="40000"/>
                </a:schemeClr>
              </a:solidFill>
              <a:ln w="9525">
                <a:solidFill>
                  <a:schemeClr val="accent4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8358620941868017E-2"/>
                  <c:y val="4.6663727219282561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30</c:f>
              <c:numCache>
                <c:formatCode>0.0%</c:formatCode>
                <c:ptCount val="1"/>
                <c:pt idx="0">
                  <c:v>0.158</c:v>
                </c:pt>
              </c:numCache>
            </c:numRef>
          </c:xVal>
          <c:yVal>
            <c:numRef>
              <c:f>List1!$A$30</c:f>
              <c:numCache>
                <c:formatCode>0.0%</c:formatCode>
                <c:ptCount val="1"/>
                <c:pt idx="0">
                  <c:v>0.8549999999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9-9149-402E-9150-02BFAEF7D23C}"/>
            </c:ext>
          </c:extLst>
        </c:ser>
        <c:ser>
          <c:idx val="30"/>
          <c:order val="29"/>
          <c:tx>
            <c:strRef>
              <c:f>List1!$C$31</c:f>
              <c:strCache>
                <c:ptCount val="1"/>
                <c:pt idx="0">
                  <c:v>S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50000"/>
                </a:schemeClr>
              </a:solidFill>
              <a:ln w="9525">
                <a:solidFill>
                  <a:schemeClr val="accent1">
                    <a:lumMod val="5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1323466480637635E-2"/>
                  <c:y val="-1.8665490887713132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2D7-4442-BA00-D1571E62952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31</c:f>
              <c:numCache>
                <c:formatCode>0.0%</c:formatCode>
                <c:ptCount val="1"/>
                <c:pt idx="0">
                  <c:v>0.309</c:v>
                </c:pt>
              </c:numCache>
            </c:numRef>
          </c:xVal>
          <c:yVal>
            <c:numRef>
              <c:f>List1!$A$31</c:f>
              <c:numCache>
                <c:formatCode>0.0%</c:formatCode>
                <c:ptCount val="1"/>
                <c:pt idx="0">
                  <c:v>0.8489999999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2-8DBA-474B-976E-F746759762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59293520"/>
        <c:axId val="359288424"/>
      </c:scatterChart>
      <c:valAx>
        <c:axId val="359293520"/>
        <c:scaling>
          <c:orientation val="minMax"/>
          <c:max val="1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88424"/>
        <c:crosses val="autoZero"/>
        <c:crossBetween val="midCat"/>
      </c:valAx>
      <c:valAx>
        <c:axId val="359288424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29352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5833828720105065E-2"/>
          <c:y val="0.17197402263374487"/>
          <c:w val="0.87881422312393831"/>
          <c:h val="0.67139752351557902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I$2:$I$53</c:f>
              <c:numCache>
                <c:formatCode>General</c:formatCode>
                <c:ptCount val="52"/>
                <c:pt idx="0">
                  <c:v>196.72916500324584</c:v>
                </c:pt>
                <c:pt idx="1">
                  <c:v>232.45944435380008</c:v>
                </c:pt>
                <c:pt idx="2">
                  <c:v>240.6955471236995</c:v>
                </c:pt>
                <c:pt idx="3">
                  <c:v>269.17909748282483</c:v>
                </c:pt>
                <c:pt idx="4">
                  <c:v>271.35745553893099</c:v>
                </c:pt>
                <c:pt idx="5">
                  <c:v>237.96175115687302</c:v>
                </c:pt>
                <c:pt idx="6">
                  <c:v>242.03206959637021</c:v>
                </c:pt>
                <c:pt idx="7">
                  <c:v>277.79706381634446</c:v>
                </c:pt>
                <c:pt idx="8">
                  <c:v>287.06593395148946</c:v>
                </c:pt>
                <c:pt idx="9">
                  <c:v>327.04878480599592</c:v>
                </c:pt>
                <c:pt idx="10">
                  <c:v>439.00423868555617</c:v>
                </c:pt>
                <c:pt idx="11">
                  <c:v>549.59713394038067</c:v>
                </c:pt>
                <c:pt idx="12">
                  <c:v>554.31835618150319</c:v>
                </c:pt>
                <c:pt idx="13">
                  <c:v>469.22353251568245</c:v>
                </c:pt>
                <c:pt idx="14">
                  <c:v>421.47322962844669</c:v>
                </c:pt>
                <c:pt idx="15">
                  <c:v>423.46933462009781</c:v>
                </c:pt>
                <c:pt idx="16">
                  <c:v>392.33009675034111</c:v>
                </c:pt>
                <c:pt idx="17">
                  <c:v>362.405879310285</c:v>
                </c:pt>
                <c:pt idx="18">
                  <c:v>309.17062705468629</c:v>
                </c:pt>
                <c:pt idx="19">
                  <c:v>274.66404685118778</c:v>
                </c:pt>
                <c:pt idx="20">
                  <c:v>253.22761498432624</c:v>
                </c:pt>
                <c:pt idx="21">
                  <c:v>184.3706714897192</c:v>
                </c:pt>
                <c:pt idx="22">
                  <c:v>124.33130482779688</c:v>
                </c:pt>
                <c:pt idx="23">
                  <c:v>71.746956373823593</c:v>
                </c:pt>
                <c:pt idx="24">
                  <c:v>47.056005498835312</c:v>
                </c:pt>
                <c:pt idx="25">
                  <c:v>56.290160764560284</c:v>
                </c:pt>
                <c:pt idx="26">
                  <c:v>100.52558312301909</c:v>
                </c:pt>
                <c:pt idx="27">
                  <c:v>148.00684577224965</c:v>
                </c:pt>
                <c:pt idx="28">
                  <c:v>172.95815816788803</c:v>
                </c:pt>
                <c:pt idx="29">
                  <c:v>188.07648380030619</c:v>
                </c:pt>
                <c:pt idx="30">
                  <c:v>204.16682577648484</c:v>
                </c:pt>
                <c:pt idx="31">
                  <c:v>222.1230919839895</c:v>
                </c:pt>
                <c:pt idx="32">
                  <c:v>235.91357386109189</c:v>
                </c:pt>
                <c:pt idx="33">
                  <c:v>242.54411392031551</c:v>
                </c:pt>
                <c:pt idx="34">
                  <c:v>241.93660370546516</c:v>
                </c:pt>
                <c:pt idx="35">
                  <c:v>238.84698032708351</c:v>
                </c:pt>
                <c:pt idx="36">
                  <c:v>245.04358451855683</c:v>
                </c:pt>
                <c:pt idx="37">
                  <c:v>244.06288945744132</c:v>
                </c:pt>
                <c:pt idx="38">
                  <c:v>234.0042560429909</c:v>
                </c:pt>
                <c:pt idx="39">
                  <c:v>245.06962067062184</c:v>
                </c:pt>
                <c:pt idx="40">
                  <c:v>327.9947649976915</c:v>
                </c:pt>
                <c:pt idx="41">
                  <c:v>545.63963882649853</c:v>
                </c:pt>
                <c:pt idx="42">
                  <c:v>822.94201575360773</c:v>
                </c:pt>
                <c:pt idx="43">
                  <c:v>977.67486747598593</c:v>
                </c:pt>
                <c:pt idx="44">
                  <c:v>1141.4162278128592</c:v>
                </c:pt>
                <c:pt idx="45">
                  <c:v>1620.4814258091169</c:v>
                </c:pt>
                <c:pt idx="46">
                  <c:v>2072.5037405271801</c:v>
                </c:pt>
                <c:pt idx="47">
                  <c:v>2109.709401828085</c:v>
                </c:pt>
                <c:pt idx="48">
                  <c:v>1789.4560527110577</c:v>
                </c:pt>
                <c:pt idx="49">
                  <c:v>1266.9799105050668</c:v>
                </c:pt>
                <c:pt idx="50">
                  <c:v>887.51167287484247</c:v>
                </c:pt>
                <c:pt idx="51">
                  <c:v>1067.53430696970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C$2:$C$53</c:f>
              <c:numCache>
                <c:formatCode>General</c:formatCode>
                <c:ptCount val="52"/>
                <c:pt idx="0">
                  <c:v>1510.2386501363062</c:v>
                </c:pt>
                <c:pt idx="1">
                  <c:v>1360.153634689706</c:v>
                </c:pt>
                <c:pt idx="2">
                  <c:v>979.01250418578229</c:v>
                </c:pt>
                <c:pt idx="3">
                  <c:v>894.2168082312794</c:v>
                </c:pt>
                <c:pt idx="4">
                  <c:v>911.94647734571902</c:v>
                </c:pt>
                <c:pt idx="5">
                  <c:v>969.21256049805402</c:v>
                </c:pt>
                <c:pt idx="6">
                  <c:v>1121.0555811100101</c:v>
                </c:pt>
                <c:pt idx="7">
                  <c:v>1396.2207938534154</c:v>
                </c:pt>
                <c:pt idx="8">
                  <c:v>1574.3216788500476</c:v>
                </c:pt>
                <c:pt idx="9">
                  <c:v>1520.7305745806104</c:v>
                </c:pt>
                <c:pt idx="10">
                  <c:v>1330.7163992613011</c:v>
                </c:pt>
                <c:pt idx="11">
                  <c:v>1071.2797220930472</c:v>
                </c:pt>
                <c:pt idx="12">
                  <c:v>809.4024100941665</c:v>
                </c:pt>
                <c:pt idx="13">
                  <c:v>602.91161189529885</c:v>
                </c:pt>
                <c:pt idx="14">
                  <c:v>457.85748357083395</c:v>
                </c:pt>
                <c:pt idx="15">
                  <c:v>365.17881764614521</c:v>
                </c:pt>
                <c:pt idx="16">
                  <c:v>298.62710082786145</c:v>
                </c:pt>
                <c:pt idx="17">
                  <c:v>236.48909910557745</c:v>
                </c:pt>
                <c:pt idx="18">
                  <c:v>173.13545551363254</c:v>
                </c:pt>
                <c:pt idx="19">
                  <c:v>118.47832683541584</c:v>
                </c:pt>
                <c:pt idx="20">
                  <c:v>76.894023801706737</c:v>
                </c:pt>
                <c:pt idx="21">
                  <c:v>52.057525295403316</c:v>
                </c:pt>
                <c:pt idx="22">
                  <c:v>35.403231681048489</c:v>
                </c:pt>
                <c:pt idx="23">
                  <c:v>22.13403311913412</c:v>
                </c:pt>
                <c:pt idx="24">
                  <c:v>15.307736466422709</c:v>
                </c:pt>
                <c:pt idx="25">
                  <c:v>16.018419405609102</c:v>
                </c:pt>
                <c:pt idx="26">
                  <c:v>22.236895123490044</c:v>
                </c:pt>
                <c:pt idx="27">
                  <c:v>27.800794450015097</c:v>
                </c:pt>
                <c:pt idx="28">
                  <c:v>27.69793244565917</c:v>
                </c:pt>
                <c:pt idx="29">
                  <c:v>23.761123006218757</c:v>
                </c:pt>
                <c:pt idx="30">
                  <c:v>22.358459310456137</c:v>
                </c:pt>
                <c:pt idx="31">
                  <c:v>23.20005752791371</c:v>
                </c:pt>
                <c:pt idx="32">
                  <c:v>24.153868841032292</c:v>
                </c:pt>
                <c:pt idx="33">
                  <c:v>24.527912493235654</c:v>
                </c:pt>
                <c:pt idx="34">
                  <c:v>28.763956854438764</c:v>
                </c:pt>
                <c:pt idx="35">
                  <c:v>40.808162455387112</c:v>
                </c:pt>
                <c:pt idx="36">
                  <c:v>53.086145338962567</c:v>
                </c:pt>
                <c:pt idx="37">
                  <c:v>59.257865600318091</c:v>
                </c:pt>
                <c:pt idx="38">
                  <c:v>72.657979440503638</c:v>
                </c:pt>
                <c:pt idx="39">
                  <c:v>98.064894516417198</c:v>
                </c:pt>
                <c:pt idx="40">
                  <c:v>145.97988636366824</c:v>
                </c:pt>
                <c:pt idx="41">
                  <c:v>291.45481379686197</c:v>
                </c:pt>
                <c:pt idx="42">
                  <c:v>523.14680306293133</c:v>
                </c:pt>
                <c:pt idx="43">
                  <c:v>822.24145845604687</c:v>
                </c:pt>
                <c:pt idx="44">
                  <c:v>1220.635352417851</c:v>
                </c:pt>
                <c:pt idx="45">
                  <c:v>1724.7059292184106</c:v>
                </c:pt>
                <c:pt idx="46">
                  <c:v>2207.287698199887</c:v>
                </c:pt>
                <c:pt idx="47">
                  <c:v>2272.2684316789164</c:v>
                </c:pt>
                <c:pt idx="48">
                  <c:v>1921.7708273817534</c:v>
                </c:pt>
                <c:pt idx="49">
                  <c:v>1491.658031713104</c:v>
                </c:pt>
                <c:pt idx="50">
                  <c:v>1019.1754413411186</c:v>
                </c:pt>
                <c:pt idx="51">
                  <c:v>714.853525908460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D$2:$D$53</c:f>
              <c:numCache>
                <c:formatCode>General</c:formatCode>
                <c:ptCount val="52"/>
                <c:pt idx="0">
                  <c:v>317.12613637484463</c:v>
                </c:pt>
                <c:pt idx="1">
                  <c:v>362.97566246668015</c:v>
                </c:pt>
                <c:pt idx="2">
                  <c:v>376.20942868038333</c:v>
                </c:pt>
                <c:pt idx="3">
                  <c:v>396.43663650752393</c:v>
                </c:pt>
                <c:pt idx="4">
                  <c:v>395.01655787913694</c:v>
                </c:pt>
                <c:pt idx="5">
                  <c:v>365.74154782866412</c:v>
                </c:pt>
                <c:pt idx="6">
                  <c:v>349.0719637619701</c:v>
                </c:pt>
                <c:pt idx="7">
                  <c:v>372.95929056436773</c:v>
                </c:pt>
                <c:pt idx="8">
                  <c:v>382.60423882181249</c:v>
                </c:pt>
                <c:pt idx="9">
                  <c:v>403.56079665579205</c:v>
                </c:pt>
                <c:pt idx="10">
                  <c:v>490.68915643407922</c:v>
                </c:pt>
                <c:pt idx="11">
                  <c:v>611.57409239447475</c:v>
                </c:pt>
                <c:pt idx="12">
                  <c:v>699.38278272903938</c:v>
                </c:pt>
                <c:pt idx="13">
                  <c:v>669.25661676427183</c:v>
                </c:pt>
                <c:pt idx="14">
                  <c:v>610.40653820837406</c:v>
                </c:pt>
                <c:pt idx="15">
                  <c:v>576.07509756059005</c:v>
                </c:pt>
                <c:pt idx="16">
                  <c:v>488.57834918414403</c:v>
                </c:pt>
                <c:pt idx="17">
                  <c:v>380.09533421580232</c:v>
                </c:pt>
                <c:pt idx="18">
                  <c:v>287.59266013050228</c:v>
                </c:pt>
                <c:pt idx="19">
                  <c:v>251.36282985188282</c:v>
                </c:pt>
                <c:pt idx="20">
                  <c:v>220.51474106975533</c:v>
                </c:pt>
                <c:pt idx="21">
                  <c:v>166.35121907511407</c:v>
                </c:pt>
                <c:pt idx="22">
                  <c:v>115.78097135041872</c:v>
                </c:pt>
                <c:pt idx="23">
                  <c:v>68.722298811400137</c:v>
                </c:pt>
                <c:pt idx="24">
                  <c:v>44.292787177034612</c:v>
                </c:pt>
                <c:pt idx="25">
                  <c:v>42.040863326998242</c:v>
                </c:pt>
                <c:pt idx="26">
                  <c:v>61.03812857641455</c:v>
                </c:pt>
                <c:pt idx="27">
                  <c:v>113.08638700743325</c:v>
                </c:pt>
                <c:pt idx="28">
                  <c:v>256.63910525777283</c:v>
                </c:pt>
                <c:pt idx="29">
                  <c:v>407.94729476209642</c:v>
                </c:pt>
                <c:pt idx="30">
                  <c:v>461.21509770556889</c:v>
                </c:pt>
                <c:pt idx="31">
                  <c:v>481.07094605875898</c:v>
                </c:pt>
                <c:pt idx="32">
                  <c:v>468.31251997171256</c:v>
                </c:pt>
                <c:pt idx="33">
                  <c:v>407.52988671337596</c:v>
                </c:pt>
                <c:pt idx="34">
                  <c:v>327.14392954413574</c:v>
                </c:pt>
                <c:pt idx="35">
                  <c:v>246.32273907142545</c:v>
                </c:pt>
                <c:pt idx="36">
                  <c:v>180.59656849585866</c:v>
                </c:pt>
                <c:pt idx="37">
                  <c:v>134.72178995979453</c:v>
                </c:pt>
                <c:pt idx="38">
                  <c:v>108.57808299367311</c:v>
                </c:pt>
                <c:pt idx="39">
                  <c:v>93.043373479372079</c:v>
                </c:pt>
                <c:pt idx="40">
                  <c:v>91.963460129123774</c:v>
                </c:pt>
                <c:pt idx="41">
                  <c:v>102.03472906266373</c:v>
                </c:pt>
                <c:pt idx="42">
                  <c:v>112.43873608486344</c:v>
                </c:pt>
                <c:pt idx="43">
                  <c:v>132.230710608534</c:v>
                </c:pt>
                <c:pt idx="44">
                  <c:v>173.88238920683202</c:v>
                </c:pt>
                <c:pt idx="45">
                  <c:v>281.71775325260393</c:v>
                </c:pt>
                <c:pt idx="46">
                  <c:v>474.50531055931253</c:v>
                </c:pt>
                <c:pt idx="47">
                  <c:v>726.20533481354255</c:v>
                </c:pt>
                <c:pt idx="48">
                  <c:v>938.43133242472072</c:v>
                </c:pt>
                <c:pt idx="49">
                  <c:v>1046.5325898538413</c:v>
                </c:pt>
                <c:pt idx="50">
                  <c:v>1311.0786810309698</c:v>
                </c:pt>
                <c:pt idx="51">
                  <c:v>2436.7524310973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F$2:$F$53</c:f>
              <c:numCache>
                <c:formatCode>General</c:formatCode>
                <c:ptCount val="52"/>
                <c:pt idx="0">
                  <c:v>399.54737547795588</c:v>
                </c:pt>
                <c:pt idx="1">
                  <c:v>362.31322732927123</c:v>
                </c:pt>
                <c:pt idx="2">
                  <c:v>300.21551440835952</c:v>
                </c:pt>
                <c:pt idx="3">
                  <c:v>281.22370119269999</c:v>
                </c:pt>
                <c:pt idx="4">
                  <c:v>278.38171978539503</c:v>
                </c:pt>
                <c:pt idx="5">
                  <c:v>279.44976825527897</c:v>
                </c:pt>
                <c:pt idx="6">
                  <c:v>290.30630489970338</c:v>
                </c:pt>
                <c:pt idx="7">
                  <c:v>354.38418303715025</c:v>
                </c:pt>
                <c:pt idx="8">
                  <c:v>442.95675520369315</c:v>
                </c:pt>
                <c:pt idx="9">
                  <c:v>500.78730430065724</c:v>
                </c:pt>
                <c:pt idx="10">
                  <c:v>512.05798218850612</c:v>
                </c:pt>
                <c:pt idx="11">
                  <c:v>492.81466619343905</c:v>
                </c:pt>
                <c:pt idx="12">
                  <c:v>462.77852759139745</c:v>
                </c:pt>
                <c:pt idx="13">
                  <c:v>389.31791909685421</c:v>
                </c:pt>
                <c:pt idx="14">
                  <c:v>332.93937937966939</c:v>
                </c:pt>
                <c:pt idx="15">
                  <c:v>317.10141101778009</c:v>
                </c:pt>
                <c:pt idx="16">
                  <c:v>283.79238291304875</c:v>
                </c:pt>
                <c:pt idx="17">
                  <c:v>237.55946531716313</c:v>
                </c:pt>
                <c:pt idx="18">
                  <c:v>181.24463963742824</c:v>
                </c:pt>
                <c:pt idx="19">
                  <c:v>125.42443609052812</c:v>
                </c:pt>
                <c:pt idx="20">
                  <c:v>88.606105870463864</c:v>
                </c:pt>
                <c:pt idx="21">
                  <c:v>64.847476642433875</c:v>
                </c:pt>
                <c:pt idx="22">
                  <c:v>46.643705468917879</c:v>
                </c:pt>
                <c:pt idx="23">
                  <c:v>31.788274631913946</c:v>
                </c:pt>
                <c:pt idx="24">
                  <c:v>21.231864637582483</c:v>
                </c:pt>
                <c:pt idx="25">
                  <c:v>18.264131840573796</c:v>
                </c:pt>
                <c:pt idx="26">
                  <c:v>24.207980860571421</c:v>
                </c:pt>
                <c:pt idx="27">
                  <c:v>46.380465893138009</c:v>
                </c:pt>
                <c:pt idx="28">
                  <c:v>84.023725229658936</c:v>
                </c:pt>
                <c:pt idx="29">
                  <c:v>116.74423683057672</c:v>
                </c:pt>
                <c:pt idx="30">
                  <c:v>135.61532871212069</c:v>
                </c:pt>
                <c:pt idx="31">
                  <c:v>143.60473367129941</c:v>
                </c:pt>
                <c:pt idx="32">
                  <c:v>148.28939210906339</c:v>
                </c:pt>
                <c:pt idx="33">
                  <c:v>153.16351597398108</c:v>
                </c:pt>
                <c:pt idx="34">
                  <c:v>144.21337039746561</c:v>
                </c:pt>
                <c:pt idx="35">
                  <c:v>122.37286903371692</c:v>
                </c:pt>
                <c:pt idx="36">
                  <c:v>103.76669341314891</c:v>
                </c:pt>
                <c:pt idx="37">
                  <c:v>88.047769700179174</c:v>
                </c:pt>
                <c:pt idx="38">
                  <c:v>74.639318187366484</c:v>
                </c:pt>
                <c:pt idx="39">
                  <c:v>65.248204404289851</c:v>
                </c:pt>
                <c:pt idx="40">
                  <c:v>60.189645167806681</c:v>
                </c:pt>
                <c:pt idx="41">
                  <c:v>72.5384316367157</c:v>
                </c:pt>
                <c:pt idx="42">
                  <c:v>96.51502994023221</c:v>
                </c:pt>
                <c:pt idx="43">
                  <c:v>119.22573092073088</c:v>
                </c:pt>
                <c:pt idx="44">
                  <c:v>155.73555106472193</c:v>
                </c:pt>
                <c:pt idx="45">
                  <c:v>206.28760972563262</c:v>
                </c:pt>
                <c:pt idx="46">
                  <c:v>260.32717359432752</c:v>
                </c:pt>
                <c:pt idx="47">
                  <c:v>319.48901073695544</c:v>
                </c:pt>
                <c:pt idx="48">
                  <c:v>380.96299676493652</c:v>
                </c:pt>
                <c:pt idx="49">
                  <c:v>494.34212640704072</c:v>
                </c:pt>
                <c:pt idx="50">
                  <c:v>756.34766188261437</c:v>
                </c:pt>
                <c:pt idx="51">
                  <c:v>1269.58603044913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K$2:$K$53</c:f>
              <c:numCache>
                <c:formatCode>General</c:formatCode>
                <c:ptCount val="52"/>
                <c:pt idx="0">
                  <c:v>276.21606206892739</c:v>
                </c:pt>
                <c:pt idx="1">
                  <c:v>244.14695247241269</c:v>
                </c:pt>
                <c:pt idx="2">
                  <c:v>171.55387067908924</c:v>
                </c:pt>
                <c:pt idx="3">
                  <c:v>163.80528594734278</c:v>
                </c:pt>
                <c:pt idx="4">
                  <c:v>176.40569255867683</c:v>
                </c:pt>
                <c:pt idx="5">
                  <c:v>205.91582437059895</c:v>
                </c:pt>
                <c:pt idx="6">
                  <c:v>285.44885391573757</c:v>
                </c:pt>
                <c:pt idx="7">
                  <c:v>451.28085026847765</c:v>
                </c:pt>
                <c:pt idx="8">
                  <c:v>646.56156296630968</c:v>
                </c:pt>
                <c:pt idx="9">
                  <c:v>934.26231733248892</c:v>
                </c:pt>
                <c:pt idx="10">
                  <c:v>1145.6236464287008</c:v>
                </c:pt>
                <c:pt idx="11">
                  <c:v>1196.7622584759997</c:v>
                </c:pt>
                <c:pt idx="12">
                  <c:v>1118.0992813776227</c:v>
                </c:pt>
                <c:pt idx="13">
                  <c:v>861.53616869436655</c:v>
                </c:pt>
                <c:pt idx="14">
                  <c:v>648.58827337170703</c:v>
                </c:pt>
                <c:pt idx="15">
                  <c:v>473.25735148255916</c:v>
                </c:pt>
                <c:pt idx="16">
                  <c:v>317.30300937834653</c:v>
                </c:pt>
                <c:pt idx="17">
                  <c:v>214.86201070553477</c:v>
                </c:pt>
                <c:pt idx="18">
                  <c:v>148.13410599449759</c:v>
                </c:pt>
                <c:pt idx="19">
                  <c:v>102.05203404955367</c:v>
                </c:pt>
                <c:pt idx="20">
                  <c:v>61.057209940379906</c:v>
                </c:pt>
                <c:pt idx="21">
                  <c:v>38.313015390920711</c:v>
                </c:pt>
                <c:pt idx="22">
                  <c:v>25.661429223894796</c:v>
                </c:pt>
                <c:pt idx="23">
                  <c:v>15.77353906422891</c:v>
                </c:pt>
                <c:pt idx="24">
                  <c:v>10.205203404955368</c:v>
                </c:pt>
                <c:pt idx="25">
                  <c:v>6.4690958394501434</c:v>
                </c:pt>
                <c:pt idx="26">
                  <c:v>5.0872478357701283</c:v>
                </c:pt>
                <c:pt idx="27">
                  <c:v>6.1620185052990291</c:v>
                </c:pt>
                <c:pt idx="28">
                  <c:v>7.4005637530418573</c:v>
                </c:pt>
                <c:pt idx="29">
                  <c:v>8.0044825102057153</c:v>
                </c:pt>
                <c:pt idx="30">
                  <c:v>7.6666974426394896</c:v>
                </c:pt>
                <c:pt idx="31">
                  <c:v>8.7824117567218707</c:v>
                </c:pt>
                <c:pt idx="32">
                  <c:v>11.361861363591233</c:v>
                </c:pt>
                <c:pt idx="33">
                  <c:v>17.636474891412337</c:v>
                </c:pt>
                <c:pt idx="34">
                  <c:v>26.275583892197023</c:v>
                </c:pt>
                <c:pt idx="35">
                  <c:v>34.576907825415482</c:v>
                </c:pt>
                <c:pt idx="36">
                  <c:v>46.501744301617094</c:v>
                </c:pt>
                <c:pt idx="37">
                  <c:v>57.884077487485065</c:v>
                </c:pt>
                <c:pt idx="38">
                  <c:v>68.017629514471835</c:v>
                </c:pt>
                <c:pt idx="39">
                  <c:v>83.903763601222821</c:v>
                </c:pt>
                <c:pt idx="40">
                  <c:v>117.84604493605933</c:v>
                </c:pt>
                <c:pt idx="41">
                  <c:v>215.51710901839047</c:v>
                </c:pt>
                <c:pt idx="42">
                  <c:v>391.42124193128711</c:v>
                </c:pt>
                <c:pt idx="43">
                  <c:v>608.88317406596798</c:v>
                </c:pt>
                <c:pt idx="44">
                  <c:v>882.48907879461092</c:v>
                </c:pt>
                <c:pt idx="45">
                  <c:v>1184.2949187094646</c:v>
                </c:pt>
                <c:pt idx="46">
                  <c:v>1390.7941900149506</c:v>
                </c:pt>
                <c:pt idx="47">
                  <c:v>1349.8198377280537</c:v>
                </c:pt>
                <c:pt idx="48">
                  <c:v>1046.3250724753689</c:v>
                </c:pt>
                <c:pt idx="49">
                  <c:v>725.0300577530578</c:v>
                </c:pt>
                <c:pt idx="50">
                  <c:v>474.74155859762283</c:v>
                </c:pt>
                <c:pt idx="51">
                  <c:v>346.792669367991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E$2:$E$53</c:f>
              <c:numCache>
                <c:formatCode>General</c:formatCode>
                <c:ptCount val="52"/>
                <c:pt idx="0">
                  <c:v>322.86235294311444</c:v>
                </c:pt>
                <c:pt idx="1">
                  <c:v>317.80143379723165</c:v>
                </c:pt>
                <c:pt idx="2">
                  <c:v>257.78102491031535</c:v>
                </c:pt>
                <c:pt idx="3">
                  <c:v>208.77824542081504</c:v>
                </c:pt>
                <c:pt idx="4">
                  <c:v>171.55060995498548</c:v>
                </c:pt>
                <c:pt idx="5">
                  <c:v>138.70213047140939</c:v>
                </c:pt>
                <c:pt idx="6">
                  <c:v>124.07728856801852</c:v>
                </c:pt>
                <c:pt idx="7">
                  <c:v>130.73740525821682</c:v>
                </c:pt>
                <c:pt idx="8">
                  <c:v>137.9265797826248</c:v>
                </c:pt>
                <c:pt idx="9">
                  <c:v>155.93618942078879</c:v>
                </c:pt>
                <c:pt idx="10">
                  <c:v>197.0680312222519</c:v>
                </c:pt>
                <c:pt idx="11">
                  <c:v>251.10768177426181</c:v>
                </c:pt>
                <c:pt idx="12">
                  <c:v>272.17981482999852</c:v>
                </c:pt>
                <c:pt idx="13">
                  <c:v>274.59424240066437</c:v>
                </c:pt>
                <c:pt idx="14">
                  <c:v>313.00865078095973</c:v>
                </c:pt>
                <c:pt idx="15">
                  <c:v>344.83268191283889</c:v>
                </c:pt>
                <c:pt idx="16">
                  <c:v>324.0719715367847</c:v>
                </c:pt>
                <c:pt idx="17">
                  <c:v>271.44995549962289</c:v>
                </c:pt>
                <c:pt idx="18">
                  <c:v>206.53215443376138</c:v>
                </c:pt>
                <c:pt idx="19">
                  <c:v>148.46925953342077</c:v>
                </c:pt>
                <c:pt idx="20">
                  <c:v>99.277702589441105</c:v>
                </c:pt>
                <c:pt idx="21">
                  <c:v>60.797161979869564</c:v>
                </c:pt>
                <c:pt idx="22">
                  <c:v>41.743865523310163</c:v>
                </c:pt>
                <c:pt idx="23">
                  <c:v>25.624435238277009</c:v>
                </c:pt>
                <c:pt idx="24">
                  <c:v>14.555102461608708</c:v>
                </c:pt>
                <c:pt idx="25">
                  <c:v>11.048891905801108</c:v>
                </c:pt>
                <c:pt idx="26">
                  <c:v>11.944683011451541</c:v>
                </c:pt>
                <c:pt idx="27">
                  <c:v>17.645281175060536</c:v>
                </c:pt>
                <c:pt idx="28">
                  <c:v>26.123432968270205</c:v>
                </c:pt>
                <c:pt idx="29">
                  <c:v>33.822426860189289</c:v>
                </c:pt>
                <c:pt idx="30">
                  <c:v>43.18675052570012</c:v>
                </c:pt>
                <c:pt idx="31">
                  <c:v>63.097361154512896</c:v>
                </c:pt>
                <c:pt idx="32">
                  <c:v>98.219586921021801</c:v>
                </c:pt>
                <c:pt idx="33">
                  <c:v>139.44401384347157</c:v>
                </c:pt>
                <c:pt idx="34">
                  <c:v>169.56664307669928</c:v>
                </c:pt>
                <c:pt idx="35">
                  <c:v>175.96583806229876</c:v>
                </c:pt>
                <c:pt idx="36">
                  <c:v>160.06524533596141</c:v>
                </c:pt>
                <c:pt idx="37">
                  <c:v>138.34381402914923</c:v>
                </c:pt>
                <c:pt idx="38">
                  <c:v>132.34862684421896</c:v>
                </c:pt>
                <c:pt idx="39">
                  <c:v>137.60433546542438</c:v>
                </c:pt>
                <c:pt idx="40">
                  <c:v>148.25282678306229</c:v>
                </c:pt>
                <c:pt idx="41">
                  <c:v>196.00149872465198</c:v>
                </c:pt>
                <c:pt idx="42">
                  <c:v>282.2162824257893</c:v>
                </c:pt>
                <c:pt idx="43">
                  <c:v>378.68997849391928</c:v>
                </c:pt>
                <c:pt idx="44">
                  <c:v>540.27025308239013</c:v>
                </c:pt>
                <c:pt idx="45">
                  <c:v>749.29258654944283</c:v>
                </c:pt>
                <c:pt idx="46">
                  <c:v>907.95101900807401</c:v>
                </c:pt>
                <c:pt idx="47">
                  <c:v>951.83636635576465</c:v>
                </c:pt>
                <c:pt idx="48">
                  <c:v>873.14382313375359</c:v>
                </c:pt>
                <c:pt idx="49">
                  <c:v>735.12706303847938</c:v>
                </c:pt>
                <c:pt idx="50">
                  <c:v>562.06743585182778</c:v>
                </c:pt>
                <c:pt idx="51">
                  <c:v>477.366478999031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G$2:$G$53</c:f>
              <c:numCache>
                <c:formatCode>General</c:formatCode>
                <c:ptCount val="52"/>
                <c:pt idx="0">
                  <c:v>631.87397907291563</c:v>
                </c:pt>
                <c:pt idx="1">
                  <c:v>526.74164739106538</c:v>
                </c:pt>
                <c:pt idx="2">
                  <c:v>438.92935177395367</c:v>
                </c:pt>
                <c:pt idx="3">
                  <c:v>380.49505431109486</c:v>
                </c:pt>
                <c:pt idx="4">
                  <c:v>327.65027429135057</c:v>
                </c:pt>
                <c:pt idx="5">
                  <c:v>292.2059550477565</c:v>
                </c:pt>
                <c:pt idx="6">
                  <c:v>292.29786900365559</c:v>
                </c:pt>
                <c:pt idx="7">
                  <c:v>340.81694847389804</c:v>
                </c:pt>
                <c:pt idx="8">
                  <c:v>363.61735415912091</c:v>
                </c:pt>
                <c:pt idx="9">
                  <c:v>392.58748413407142</c:v>
                </c:pt>
                <c:pt idx="10">
                  <c:v>467.79607854851781</c:v>
                </c:pt>
                <c:pt idx="11">
                  <c:v>547.83015564766731</c:v>
                </c:pt>
                <c:pt idx="12">
                  <c:v>578.58686314040688</c:v>
                </c:pt>
                <c:pt idx="13">
                  <c:v>564.35168922053231</c:v>
                </c:pt>
                <c:pt idx="14">
                  <c:v>584.00978653845436</c:v>
                </c:pt>
                <c:pt idx="15">
                  <c:v>634.93011810656105</c:v>
                </c:pt>
                <c:pt idx="16">
                  <c:v>596.40668134034672</c:v>
                </c:pt>
                <c:pt idx="17">
                  <c:v>568.34420167989992</c:v>
                </c:pt>
                <c:pt idx="18">
                  <c:v>520.69256016845532</c:v>
                </c:pt>
                <c:pt idx="19">
                  <c:v>380.63292524494352</c:v>
                </c:pt>
                <c:pt idx="20">
                  <c:v>282.69860523444237</c:v>
                </c:pt>
                <c:pt idx="21">
                  <c:v>212.72910630624523</c:v>
                </c:pt>
                <c:pt idx="22">
                  <c:v>148.21125388731406</c:v>
                </c:pt>
                <c:pt idx="23">
                  <c:v>93.022667992142502</c:v>
                </c:pt>
                <c:pt idx="24">
                  <c:v>61.030866717008699</c:v>
                </c:pt>
                <c:pt idx="25">
                  <c:v>58.267703417791729</c:v>
                </c:pt>
                <c:pt idx="26">
                  <c:v>258.04843118674995</c:v>
                </c:pt>
                <c:pt idx="27">
                  <c:v>627.39317372283404</c:v>
                </c:pt>
                <c:pt idx="28">
                  <c:v>661.10836167107618</c:v>
                </c:pt>
                <c:pt idx="29">
                  <c:v>398.51593428956403</c:v>
                </c:pt>
                <c:pt idx="30">
                  <c:v>243.75006642219469</c:v>
                </c:pt>
                <c:pt idx="31">
                  <c:v>196.16161575543074</c:v>
                </c:pt>
                <c:pt idx="32">
                  <c:v>189.74487270922415</c:v>
                </c:pt>
                <c:pt idx="33">
                  <c:v>199.61413372389103</c:v>
                </c:pt>
                <c:pt idx="34">
                  <c:v>203.86515418422488</c:v>
                </c:pt>
                <c:pt idx="35">
                  <c:v>197.46564500474935</c:v>
                </c:pt>
                <c:pt idx="36">
                  <c:v>176.57819852667674</c:v>
                </c:pt>
                <c:pt idx="37">
                  <c:v>147.2576465948608</c:v>
                </c:pt>
                <c:pt idx="38">
                  <c:v>133.01672805274254</c:v>
                </c:pt>
                <c:pt idx="39">
                  <c:v>158.98816521648465</c:v>
                </c:pt>
                <c:pt idx="40">
                  <c:v>227.85469667389245</c:v>
                </c:pt>
                <c:pt idx="41">
                  <c:v>335.27913263097668</c:v>
                </c:pt>
                <c:pt idx="42">
                  <c:v>484.22569816548361</c:v>
                </c:pt>
                <c:pt idx="43">
                  <c:v>680.03114734180531</c:v>
                </c:pt>
                <c:pt idx="44">
                  <c:v>935.71279416415314</c:v>
                </c:pt>
                <c:pt idx="45">
                  <c:v>1384.5918316641853</c:v>
                </c:pt>
                <c:pt idx="46">
                  <c:v>1747.6002558654748</c:v>
                </c:pt>
                <c:pt idx="47">
                  <c:v>1777.3229313543491</c:v>
                </c:pt>
                <c:pt idx="48">
                  <c:v>1613.124393762834</c:v>
                </c:pt>
                <c:pt idx="49">
                  <c:v>1311.6121506802926</c:v>
                </c:pt>
                <c:pt idx="50">
                  <c:v>1062.4908624602435</c:v>
                </c:pt>
                <c:pt idx="51">
                  <c:v>1069.31547368575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J$2:$J$53</c:f>
              <c:numCache>
                <c:formatCode>General</c:formatCode>
                <c:ptCount val="52"/>
                <c:pt idx="0">
                  <c:v>341.44193268911135</c:v>
                </c:pt>
                <c:pt idx="1">
                  <c:v>305.06501662436659</c:v>
                </c:pt>
                <c:pt idx="2">
                  <c:v>230.58559932523562</c:v>
                </c:pt>
                <c:pt idx="3">
                  <c:v>202.09368541734054</c:v>
                </c:pt>
                <c:pt idx="4">
                  <c:v>196.41901296633674</c:v>
                </c:pt>
                <c:pt idx="5">
                  <c:v>199.18785268128801</c:v>
                </c:pt>
                <c:pt idx="6">
                  <c:v>237.01900235464657</c:v>
                </c:pt>
                <c:pt idx="7">
                  <c:v>316.86749228847845</c:v>
                </c:pt>
                <c:pt idx="8">
                  <c:v>417.67591445080888</c:v>
                </c:pt>
                <c:pt idx="9">
                  <c:v>544.04143849205673</c:v>
                </c:pt>
                <c:pt idx="10">
                  <c:v>718.26758203998304</c:v>
                </c:pt>
                <c:pt idx="11">
                  <c:v>920.90397057937889</c:v>
                </c:pt>
                <c:pt idx="12">
                  <c:v>986.66588967035204</c:v>
                </c:pt>
                <c:pt idx="13">
                  <c:v>839.4985022711071</c:v>
                </c:pt>
                <c:pt idx="14">
                  <c:v>650.34538838548929</c:v>
                </c:pt>
                <c:pt idx="15">
                  <c:v>462.92576311303782</c:v>
                </c:pt>
                <c:pt idx="16">
                  <c:v>290.95210096975779</c:v>
                </c:pt>
                <c:pt idx="17">
                  <c:v>191.7085606253921</c:v>
                </c:pt>
                <c:pt idx="18">
                  <c:v>131.3842106796703</c:v>
                </c:pt>
                <c:pt idx="19">
                  <c:v>83.083632816762503</c:v>
                </c:pt>
                <c:pt idx="20">
                  <c:v>45.1023177164275</c:v>
                </c:pt>
                <c:pt idx="21">
                  <c:v>24.179268224379182</c:v>
                </c:pt>
                <c:pt idx="22">
                  <c:v>13.688764185429751</c:v>
                </c:pt>
                <c:pt idx="23">
                  <c:v>8.8623946727840028</c:v>
                </c:pt>
                <c:pt idx="24">
                  <c:v>5.4533760323016898</c:v>
                </c:pt>
                <c:pt idx="25">
                  <c:v>3.859514921411582</c:v>
                </c:pt>
                <c:pt idx="26">
                  <c:v>3.106053305354441</c:v>
                </c:pt>
                <c:pt idx="27">
                  <c:v>3.1323981171046906</c:v>
                </c:pt>
                <c:pt idx="28">
                  <c:v>3.6013357662591354</c:v>
                </c:pt>
                <c:pt idx="29">
                  <c:v>4.3047422399908024</c:v>
                </c:pt>
                <c:pt idx="30">
                  <c:v>5.1056245171983941</c:v>
                </c:pt>
                <c:pt idx="31">
                  <c:v>6.1725893930835074</c:v>
                </c:pt>
                <c:pt idx="32">
                  <c:v>6.984009594991198</c:v>
                </c:pt>
                <c:pt idx="33">
                  <c:v>7.8033332404239637</c:v>
                </c:pt>
                <c:pt idx="34">
                  <c:v>10.261304176722261</c:v>
                </c:pt>
                <c:pt idx="35">
                  <c:v>14.579218822588187</c:v>
                </c:pt>
                <c:pt idx="36">
                  <c:v>20.103725846615554</c:v>
                </c:pt>
                <c:pt idx="37">
                  <c:v>25.654577682393167</c:v>
                </c:pt>
                <c:pt idx="38">
                  <c:v>34.917413493780963</c:v>
                </c:pt>
                <c:pt idx="39">
                  <c:v>51.772824051590725</c:v>
                </c:pt>
                <c:pt idx="40">
                  <c:v>77.917415232538531</c:v>
                </c:pt>
                <c:pt idx="41">
                  <c:v>138.51048225811286</c:v>
                </c:pt>
                <c:pt idx="42">
                  <c:v>234.55049349364819</c:v>
                </c:pt>
                <c:pt idx="43">
                  <c:v>357.38581276036246</c:v>
                </c:pt>
                <c:pt idx="44">
                  <c:v>484.39678468949137</c:v>
                </c:pt>
                <c:pt idx="45">
                  <c:v>648.62507217819791</c:v>
                </c:pt>
                <c:pt idx="46">
                  <c:v>808.64609323038974</c:v>
                </c:pt>
                <c:pt idx="47">
                  <c:v>861.25404781446332</c:v>
                </c:pt>
                <c:pt idx="48">
                  <c:v>839.44054368525667</c:v>
                </c:pt>
                <c:pt idx="49">
                  <c:v>747.58672303683602</c:v>
                </c:pt>
                <c:pt idx="50">
                  <c:v>567.08787981117507</c:v>
                </c:pt>
                <c:pt idx="51">
                  <c:v>435.782703566755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B$2:$B$53</c:f>
              <c:numCache>
                <c:formatCode>General</c:formatCode>
                <c:ptCount val="52"/>
                <c:pt idx="0">
                  <c:v>331.74685633088359</c:v>
                </c:pt>
                <c:pt idx="1">
                  <c:v>287.39260834435078</c:v>
                </c:pt>
                <c:pt idx="2">
                  <c:v>237.18512753082101</c:v>
                </c:pt>
                <c:pt idx="3">
                  <c:v>221.07469399163963</c:v>
                </c:pt>
                <c:pt idx="4">
                  <c:v>209.32328988983789</c:v>
                </c:pt>
                <c:pt idx="5">
                  <c:v>208.69415162052536</c:v>
                </c:pt>
                <c:pt idx="6">
                  <c:v>236.96043529178087</c:v>
                </c:pt>
                <c:pt idx="7">
                  <c:v>290.21249594430509</c:v>
                </c:pt>
                <c:pt idx="8">
                  <c:v>342.89159138727683</c:v>
                </c:pt>
                <c:pt idx="9">
                  <c:v>388.14460832997048</c:v>
                </c:pt>
                <c:pt idx="10">
                  <c:v>441.73370734105498</c:v>
                </c:pt>
                <c:pt idx="11">
                  <c:v>487.80685095624523</c:v>
                </c:pt>
                <c:pt idx="12">
                  <c:v>484.36905969893036</c:v>
                </c:pt>
                <c:pt idx="13">
                  <c:v>431.45403740496641</c:v>
                </c:pt>
                <c:pt idx="14">
                  <c:v>386.89756640329745</c:v>
                </c:pt>
                <c:pt idx="15">
                  <c:v>358.04708291053743</c:v>
                </c:pt>
                <c:pt idx="16">
                  <c:v>309.90677069617743</c:v>
                </c:pt>
                <c:pt idx="17">
                  <c:v>242.19576446141721</c:v>
                </c:pt>
                <c:pt idx="18">
                  <c:v>165.78916857580174</c:v>
                </c:pt>
                <c:pt idx="19">
                  <c:v>111.13278142927632</c:v>
                </c:pt>
                <c:pt idx="20">
                  <c:v>82.192421040900271</c:v>
                </c:pt>
                <c:pt idx="21">
                  <c:v>62.734073140020115</c:v>
                </c:pt>
                <c:pt idx="22">
                  <c:v>46.163020510806348</c:v>
                </c:pt>
                <c:pt idx="23">
                  <c:v>30.187402315049081</c:v>
                </c:pt>
                <c:pt idx="24">
                  <c:v>18.885382691327688</c:v>
                </c:pt>
                <c:pt idx="25">
                  <c:v>14.739810881036243</c:v>
                </c:pt>
                <c:pt idx="26">
                  <c:v>19.390940229168109</c:v>
                </c:pt>
                <c:pt idx="27">
                  <c:v>36.905700262350663</c:v>
                </c:pt>
                <c:pt idx="28">
                  <c:v>53.072306861292091</c:v>
                </c:pt>
                <c:pt idx="29">
                  <c:v>64.969760918469973</c:v>
                </c:pt>
                <c:pt idx="30">
                  <c:v>77.72104548400057</c:v>
                </c:pt>
                <c:pt idx="31">
                  <c:v>107.48153254487329</c:v>
                </c:pt>
                <c:pt idx="32">
                  <c:v>156.86888668590632</c:v>
                </c:pt>
                <c:pt idx="33">
                  <c:v>196.59447454821131</c:v>
                </c:pt>
                <c:pt idx="34">
                  <c:v>233.02832110857759</c:v>
                </c:pt>
                <c:pt idx="35">
                  <c:v>284.96593216271674</c:v>
                </c:pt>
                <c:pt idx="36">
                  <c:v>312.41208916147554</c:v>
                </c:pt>
                <c:pt idx="37">
                  <c:v>286.60618550771005</c:v>
                </c:pt>
                <c:pt idx="38">
                  <c:v>273.63020870313932</c:v>
                </c:pt>
                <c:pt idx="39">
                  <c:v>285.11198211809284</c:v>
                </c:pt>
                <c:pt idx="40">
                  <c:v>316.19815338930272</c:v>
                </c:pt>
                <c:pt idx="41">
                  <c:v>440.61024614585403</c:v>
                </c:pt>
                <c:pt idx="42">
                  <c:v>656.47208019176139</c:v>
                </c:pt>
                <c:pt idx="43">
                  <c:v>1023.1922835292499</c:v>
                </c:pt>
                <c:pt idx="44">
                  <c:v>1520.346331629567</c:v>
                </c:pt>
                <c:pt idx="45">
                  <c:v>1979.1678837496281</c:v>
                </c:pt>
                <c:pt idx="46">
                  <c:v>2022.7132396756165</c:v>
                </c:pt>
                <c:pt idx="47">
                  <c:v>1501.101441355775</c:v>
                </c:pt>
                <c:pt idx="48">
                  <c:v>901.57760914874893</c:v>
                </c:pt>
                <c:pt idx="49">
                  <c:v>541.63187681832187</c:v>
                </c:pt>
                <c:pt idx="50">
                  <c:v>376.69653875087295</c:v>
                </c:pt>
                <c:pt idx="51">
                  <c:v>426.083892891905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L$2:$L$53</c:f>
              <c:numCache>
                <c:formatCode>General</c:formatCode>
                <c:ptCount val="52"/>
                <c:pt idx="0">
                  <c:v>1578.3987645003831</c:v>
                </c:pt>
                <c:pt idx="1">
                  <c:v>1340.9436240088401</c:v>
                </c:pt>
                <c:pt idx="2">
                  <c:v>1244.38586240464</c:v>
                </c:pt>
                <c:pt idx="3">
                  <c:v>1277.6588975228995</c:v>
                </c:pt>
                <c:pt idx="4">
                  <c:v>1245.8516348768101</c:v>
                </c:pt>
                <c:pt idx="5">
                  <c:v>1289.293466520749</c:v>
                </c:pt>
                <c:pt idx="6">
                  <c:v>1289.9347419773235</c:v>
                </c:pt>
                <c:pt idx="7">
                  <c:v>1346.1654384409458</c:v>
                </c:pt>
                <c:pt idx="8">
                  <c:v>1291.4554809171998</c:v>
                </c:pt>
                <c:pt idx="9">
                  <c:v>1132.3275569072421</c:v>
                </c:pt>
                <c:pt idx="10">
                  <c:v>951.24969012653821</c:v>
                </c:pt>
                <c:pt idx="11">
                  <c:v>780.01082106527588</c:v>
                </c:pt>
                <c:pt idx="12">
                  <c:v>621.26766232926275</c:v>
                </c:pt>
                <c:pt idx="13">
                  <c:v>487.29605837292291</c:v>
                </c:pt>
                <c:pt idx="14">
                  <c:v>394.62259381997342</c:v>
                </c:pt>
                <c:pt idx="15">
                  <c:v>331.41115595764137</c:v>
                </c:pt>
                <c:pt idx="16">
                  <c:v>277.98374934704418</c:v>
                </c:pt>
                <c:pt idx="17">
                  <c:v>216.53123845131614</c:v>
                </c:pt>
                <c:pt idx="18">
                  <c:v>159.42107850439172</c:v>
                </c:pt>
                <c:pt idx="19">
                  <c:v>113.34085641054675</c:v>
                </c:pt>
                <c:pt idx="20">
                  <c:v>79.243324276691681</c:v>
                </c:pt>
                <c:pt idx="21">
                  <c:v>60.6829803478388</c:v>
                </c:pt>
                <c:pt idx="22">
                  <c:v>44.632771777577091</c:v>
                </c:pt>
                <c:pt idx="23">
                  <c:v>28.087864997957997</c:v>
                </c:pt>
                <c:pt idx="24">
                  <c:v>16.893027741759472</c:v>
                </c:pt>
                <c:pt idx="25">
                  <c:v>11.359736659317649</c:v>
                </c:pt>
                <c:pt idx="26">
                  <c:v>8.4831581826839866</c:v>
                </c:pt>
                <c:pt idx="27">
                  <c:v>8.2266480000542348</c:v>
                </c:pt>
                <c:pt idx="28">
                  <c:v>9.7657090958327544</c:v>
                </c:pt>
                <c:pt idx="29">
                  <c:v>13.485106743964177</c:v>
                </c:pt>
                <c:pt idx="30">
                  <c:v>15.390610957785205</c:v>
                </c:pt>
                <c:pt idx="31">
                  <c:v>18.13893434310399</c:v>
                </c:pt>
                <c:pt idx="32">
                  <c:v>22.811084098145926</c:v>
                </c:pt>
                <c:pt idx="33">
                  <c:v>27.446589541383613</c:v>
                </c:pt>
                <c:pt idx="34">
                  <c:v>46.373376588278987</c:v>
                </c:pt>
                <c:pt idx="35">
                  <c:v>87.579905212158664</c:v>
                </c:pt>
                <c:pt idx="36">
                  <c:v>146.48563643749131</c:v>
                </c:pt>
                <c:pt idx="37">
                  <c:v>210.4482826918105</c:v>
                </c:pt>
                <c:pt idx="38">
                  <c:v>280.75039488826508</c:v>
                </c:pt>
                <c:pt idx="39">
                  <c:v>361.09304851908428</c:v>
                </c:pt>
                <c:pt idx="40">
                  <c:v>446.89570460873676</c:v>
                </c:pt>
                <c:pt idx="41">
                  <c:v>658.04022922482807</c:v>
                </c:pt>
                <c:pt idx="42">
                  <c:v>1013.5816645055683</c:v>
                </c:pt>
                <c:pt idx="43">
                  <c:v>1392.5937814969311</c:v>
                </c:pt>
                <c:pt idx="44">
                  <c:v>1732.414807013648</c:v>
                </c:pt>
                <c:pt idx="45">
                  <c:v>2083.6505356573889</c:v>
                </c:pt>
                <c:pt idx="46">
                  <c:v>2318.2107755163961</c:v>
                </c:pt>
                <c:pt idx="47">
                  <c:v>2299.6687537434454</c:v>
                </c:pt>
                <c:pt idx="48">
                  <c:v>1947.8100717990321</c:v>
                </c:pt>
                <c:pt idx="49">
                  <c:v>1393.1984126417012</c:v>
                </c:pt>
                <c:pt idx="50">
                  <c:v>934.85136059413628</c:v>
                </c:pt>
                <c:pt idx="51">
                  <c:v>729.551603710822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53</c:f>
              <c:numCache>
                <c:formatCode>General</c:formatCode>
                <c:ptCount val="52"/>
                <c:pt idx="0">
                  <c:v>545.61744677781792</c:v>
                </c:pt>
                <c:pt idx="1">
                  <c:v>831.20066007763694</c:v>
                </c:pt>
                <c:pt idx="2">
                  <c:v>1009.4097063813125</c:v>
                </c:pt>
                <c:pt idx="3">
                  <c:v>941.72064952930771</c:v>
                </c:pt>
                <c:pt idx="4">
                  <c:v>700.4134612130232</c:v>
                </c:pt>
                <c:pt idx="5">
                  <c:v>433.8298324280168</c:v>
                </c:pt>
                <c:pt idx="6">
                  <c:v>265.28431326442268</c:v>
                </c:pt>
                <c:pt idx="7">
                  <c:v>106.03682272861583</c:v>
                </c:pt>
                <c:pt idx="8">
                  <c:v>70.706004109555408</c:v>
                </c:pt>
                <c:pt idx="9">
                  <c:v>138.96549216571898</c:v>
                </c:pt>
                <c:pt idx="10">
                  <c:v>139.77888480868603</c:v>
                </c:pt>
                <c:pt idx="11">
                  <c:v>161.43625619324553</c:v>
                </c:pt>
                <c:pt idx="12">
                  <c:v>180.93655254281961</c:v>
                </c:pt>
                <c:pt idx="13">
                  <c:v>217.34696503345452</c:v>
                </c:pt>
                <c:pt idx="14">
                  <c:v>250.58197715427255</c:v>
                </c:pt>
                <c:pt idx="15">
                  <c:v>246.87628703540437</c:v>
                </c:pt>
                <c:pt idx="16">
                  <c:v>235.21413797260382</c:v>
                </c:pt>
                <c:pt idx="17">
                  <c:v>201.42559631293554</c:v>
                </c:pt>
                <c:pt idx="18">
                  <c:v>162.26866320968455</c:v>
                </c:pt>
                <c:pt idx="19">
                  <c:v>142.0183554620499</c:v>
                </c:pt>
                <c:pt idx="20">
                  <c:v>133.91823236299604</c:v>
                </c:pt>
                <c:pt idx="21">
                  <c:v>125.35331346796102</c:v>
                </c:pt>
                <c:pt idx="22">
                  <c:v>111.41366500485269</c:v>
                </c:pt>
                <c:pt idx="23">
                  <c:v>101.46703497085541</c:v>
                </c:pt>
                <c:pt idx="24">
                  <c:v>113.05312653976812</c:v>
                </c:pt>
                <c:pt idx="25">
                  <c:v>229.32602032078768</c:v>
                </c:pt>
                <c:pt idx="26">
                  <c:v>450.85826022623638</c:v>
                </c:pt>
                <c:pt idx="27">
                  <c:v>656.52406182341838</c:v>
                </c:pt>
                <c:pt idx="28">
                  <c:v>763.62146405013675</c:v>
                </c:pt>
                <c:pt idx="29">
                  <c:v>723.28352708346085</c:v>
                </c:pt>
                <c:pt idx="30">
                  <c:v>582.33631466033125</c:v>
                </c:pt>
                <c:pt idx="31">
                  <c:v>441.27712870453337</c:v>
                </c:pt>
                <c:pt idx="32">
                  <c:v>334.65508581461398</c:v>
                </c:pt>
                <c:pt idx="33">
                  <c:v>252.8996180096878</c:v>
                </c:pt>
                <c:pt idx="34">
                  <c:v>180.7189436019739</c:v>
                </c:pt>
                <c:pt idx="35">
                  <c:v>120.82366716530805</c:v>
                </c:pt>
                <c:pt idx="36">
                  <c:v>86.576667834149191</c:v>
                </c:pt>
                <c:pt idx="37">
                  <c:v>68.18131785411218</c:v>
                </c:pt>
                <c:pt idx="38">
                  <c:v>56.329025056592059</c:v>
                </c:pt>
                <c:pt idx="39">
                  <c:v>47.812698449318688</c:v>
                </c:pt>
                <c:pt idx="40">
                  <c:v>44.546451628469114</c:v>
                </c:pt>
                <c:pt idx="41">
                  <c:v>48.495103186145606</c:v>
                </c:pt>
                <c:pt idx="42">
                  <c:v>54.066314613429121</c:v>
                </c:pt>
                <c:pt idx="43">
                  <c:v>61.80727732467934</c:v>
                </c:pt>
                <c:pt idx="44">
                  <c:v>87.261185279139667</c:v>
                </c:pt>
                <c:pt idx="45">
                  <c:v>139.23591881065349</c:v>
                </c:pt>
                <c:pt idx="46">
                  <c:v>209.94403562837246</c:v>
                </c:pt>
                <c:pt idx="47">
                  <c:v>310.72021502974673</c:v>
                </c:pt>
                <c:pt idx="48">
                  <c:v>423.54939450417845</c:v>
                </c:pt>
                <c:pt idx="49">
                  <c:v>700.88248242533155</c:v>
                </c:pt>
                <c:pt idx="50">
                  <c:v>1413.1440110195479</c:v>
                </c:pt>
                <c:pt idx="51">
                  <c:v>2280.72761838169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H$2:$H$53</c:f>
              <c:numCache>
                <c:formatCode>General</c:formatCode>
                <c:ptCount val="52"/>
                <c:pt idx="0">
                  <c:v>1091.1262045884519</c:v>
                </c:pt>
                <c:pt idx="1">
                  <c:v>1089.0118894303387</c:v>
                </c:pt>
                <c:pt idx="2">
                  <c:v>845.01198599239024</c:v>
                </c:pt>
                <c:pt idx="3">
                  <c:v>618.89193047596939</c:v>
                </c:pt>
                <c:pt idx="4">
                  <c:v>458.89160840655819</c:v>
                </c:pt>
                <c:pt idx="5">
                  <c:v>324.57015083912233</c:v>
                </c:pt>
                <c:pt idx="6">
                  <c:v>228.8059263357612</c:v>
                </c:pt>
                <c:pt idx="7">
                  <c:v>203.462061038824</c:v>
                </c:pt>
                <c:pt idx="8">
                  <c:v>151.35352241305569</c:v>
                </c:pt>
                <c:pt idx="9">
                  <c:v>120.31173204095343</c:v>
                </c:pt>
                <c:pt idx="10">
                  <c:v>114.69755676704784</c:v>
                </c:pt>
                <c:pt idx="11">
                  <c:v>109.61526619587818</c:v>
                </c:pt>
                <c:pt idx="12">
                  <c:v>92.279057335158029</c:v>
                </c:pt>
                <c:pt idx="13">
                  <c:v>59.214048079996871</c:v>
                </c:pt>
                <c:pt idx="14">
                  <c:v>41.77498858615099</c:v>
                </c:pt>
                <c:pt idx="15">
                  <c:v>46.34008740217417</c:v>
                </c:pt>
                <c:pt idx="16">
                  <c:v>47.577233589200731</c:v>
                </c:pt>
                <c:pt idx="17">
                  <c:v>44.04651828347054</c:v>
                </c:pt>
                <c:pt idx="18">
                  <c:v>44.925156549316007</c:v>
                </c:pt>
                <c:pt idx="19">
                  <c:v>40.667140337911057</c:v>
                </c:pt>
                <c:pt idx="20">
                  <c:v>48.896660282727872</c:v>
                </c:pt>
                <c:pt idx="21">
                  <c:v>79.862047327365318</c:v>
                </c:pt>
                <c:pt idx="22">
                  <c:v>131.3005875430575</c:v>
                </c:pt>
                <c:pt idx="23">
                  <c:v>166.24776338441939</c:v>
                </c:pt>
                <c:pt idx="24">
                  <c:v>233.63990609267023</c:v>
                </c:pt>
                <c:pt idx="25">
                  <c:v>441.51278999782886</c:v>
                </c:pt>
                <c:pt idx="26">
                  <c:v>571.27796451779511</c:v>
                </c:pt>
                <c:pt idx="27">
                  <c:v>739.65179741839916</c:v>
                </c:pt>
                <c:pt idx="28">
                  <c:v>847.29380075302242</c:v>
                </c:pt>
                <c:pt idx="29">
                  <c:v>656.37510907125989</c:v>
                </c:pt>
                <c:pt idx="30">
                  <c:v>582.32706110501579</c:v>
                </c:pt>
                <c:pt idx="31">
                  <c:v>568.27913391480092</c:v>
                </c:pt>
                <c:pt idx="32">
                  <c:v>585.75345648286134</c:v>
                </c:pt>
                <c:pt idx="33">
                  <c:v>681.73219802102744</c:v>
                </c:pt>
                <c:pt idx="34">
                  <c:v>712.93120293233619</c:v>
                </c:pt>
                <c:pt idx="35">
                  <c:v>727.08491934519463</c:v>
                </c:pt>
                <c:pt idx="36">
                  <c:v>663.56289903198899</c:v>
                </c:pt>
                <c:pt idx="37">
                  <c:v>643.48351685632986</c:v>
                </c:pt>
                <c:pt idx="38">
                  <c:v>691.94085800613493</c:v>
                </c:pt>
                <c:pt idx="39">
                  <c:v>778.04887735374962</c:v>
                </c:pt>
                <c:pt idx="40">
                  <c:v>805.88613585660607</c:v>
                </c:pt>
                <c:pt idx="41">
                  <c:v>852.05137718246658</c:v>
                </c:pt>
                <c:pt idx="42">
                  <c:v>936.13764694178133</c:v>
                </c:pt>
                <c:pt idx="43">
                  <c:v>776.13291698809326</c:v>
                </c:pt>
                <c:pt idx="44">
                  <c:v>697.6211515441928</c:v>
                </c:pt>
                <c:pt idx="45">
                  <c:v>798.68365294828766</c:v>
                </c:pt>
                <c:pt idx="46">
                  <c:v>860.73637850255443</c:v>
                </c:pt>
                <c:pt idx="47">
                  <c:v>909.34211842301238</c:v>
                </c:pt>
                <c:pt idx="48">
                  <c:v>988.24765486230854</c:v>
                </c:pt>
                <c:pt idx="49">
                  <c:v>1317.95446017868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546608"/>
        <c:axId val="301529320"/>
      </c:lineChart>
      <c:catAx>
        <c:axId val="11546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1529320"/>
        <c:crosses val="autoZero"/>
        <c:auto val="1"/>
        <c:lblAlgn val="ctr"/>
        <c:lblOffset val="100"/>
        <c:tickLblSkip val="1"/>
        <c:noMultiLvlLbl val="1"/>
      </c:catAx>
      <c:valAx>
        <c:axId val="3015293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15466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7.4950401637673789E-2"/>
          <c:y val="1.0209435626102294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7881422312393831"/>
          <c:h val="0.65739840534979432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I$2:$I$53</c:f>
              <c:numCache>
                <c:formatCode>General</c:formatCode>
                <c:ptCount val="52"/>
                <c:pt idx="0">
                  <c:v>118.82899802472392</c:v>
                </c:pt>
                <c:pt idx="1">
                  <c:v>113.63044632907614</c:v>
                </c:pt>
                <c:pt idx="2">
                  <c:v>127.06510079462335</c:v>
                </c:pt>
                <c:pt idx="3">
                  <c:v>142.11399668820147</c:v>
                </c:pt>
                <c:pt idx="4">
                  <c:v>129.24345885072952</c:v>
                </c:pt>
                <c:pt idx="5">
                  <c:v>108.7182923061435</c:v>
                </c:pt>
                <c:pt idx="6">
                  <c:v>133.31377729022671</c:v>
                </c:pt>
                <c:pt idx="7">
                  <c:v>144.48328652611772</c:v>
                </c:pt>
                <c:pt idx="8">
                  <c:v>142.5826474253717</c:v>
                </c:pt>
                <c:pt idx="9">
                  <c:v>184.46613738062425</c:v>
                </c:pt>
                <c:pt idx="10">
                  <c:v>254.53810130493193</c:v>
                </c:pt>
                <c:pt idx="11">
                  <c:v>295.05903263544877</c:v>
                </c:pt>
                <c:pt idx="12">
                  <c:v>259.25932354605447</c:v>
                </c:pt>
                <c:pt idx="13">
                  <c:v>209.96420896962795</c:v>
                </c:pt>
                <c:pt idx="14">
                  <c:v>211.5090206588188</c:v>
                </c:pt>
                <c:pt idx="15">
                  <c:v>211.96031396127904</c:v>
                </c:pt>
                <c:pt idx="16">
                  <c:v>180.36978278906204</c:v>
                </c:pt>
                <c:pt idx="17">
                  <c:v>182.03609652122293</c:v>
                </c:pt>
                <c:pt idx="18">
                  <c:v>127.1345305334634</c:v>
                </c:pt>
                <c:pt idx="19">
                  <c:v>147.52951631772439</c:v>
                </c:pt>
                <c:pt idx="20">
                  <c:v>105.69809866660188</c:v>
                </c:pt>
                <c:pt idx="21">
                  <c:v>78.672572823117321</c:v>
                </c:pt>
                <c:pt idx="22">
                  <c:v>45.658732004679564</c:v>
                </c:pt>
                <c:pt idx="23">
                  <c:v>26.088224369144033</c:v>
                </c:pt>
                <c:pt idx="24">
                  <c:v>20.967781129691282</c:v>
                </c:pt>
                <c:pt idx="25">
                  <c:v>35.322379634869002</c:v>
                </c:pt>
                <c:pt idx="26">
                  <c:v>65.203203488150081</c:v>
                </c:pt>
                <c:pt idx="27">
                  <c:v>82.803642284099553</c:v>
                </c:pt>
                <c:pt idx="28">
                  <c:v>90.154515883788505</c:v>
                </c:pt>
                <c:pt idx="29">
                  <c:v>97.921967916517687</c:v>
                </c:pt>
                <c:pt idx="30">
                  <c:v>106.24485785996715</c:v>
                </c:pt>
                <c:pt idx="31">
                  <c:v>115.87823412402236</c:v>
                </c:pt>
                <c:pt idx="32">
                  <c:v>120.03533973706958</c:v>
                </c:pt>
                <c:pt idx="33">
                  <c:v>122.5087741832459</c:v>
                </c:pt>
                <c:pt idx="34">
                  <c:v>119.42782952221926</c:v>
                </c:pt>
                <c:pt idx="35">
                  <c:v>119.41915080486424</c:v>
                </c:pt>
                <c:pt idx="36">
                  <c:v>125.6244337136926</c:v>
                </c:pt>
                <c:pt idx="37">
                  <c:v>118.43845574374872</c:v>
                </c:pt>
                <c:pt idx="38">
                  <c:v>115.56580029924218</c:v>
                </c:pt>
                <c:pt idx="39">
                  <c:v>129.50382037137967</c:v>
                </c:pt>
                <c:pt idx="40">
                  <c:v>198.4909446263118</c:v>
                </c:pt>
                <c:pt idx="41">
                  <c:v>347.14869420018675</c:v>
                </c:pt>
                <c:pt idx="42">
                  <c:v>475.79332155342098</c:v>
                </c:pt>
                <c:pt idx="43">
                  <c:v>501.88154592256501</c:v>
                </c:pt>
                <c:pt idx="44">
                  <c:v>639.53468189029411</c:v>
                </c:pt>
                <c:pt idx="45">
                  <c:v>980.94674391882279</c:v>
                </c:pt>
                <c:pt idx="46">
                  <c:v>1091.5569966083572</c:v>
                </c:pt>
                <c:pt idx="47">
                  <c:v>1018.1524052197277</c:v>
                </c:pt>
                <c:pt idx="48">
                  <c:v>771.30364749133003</c:v>
                </c:pt>
                <c:pt idx="49">
                  <c:v>495.67626301373667</c:v>
                </c:pt>
                <c:pt idx="50">
                  <c:v>391.83540986110586</c:v>
                </c:pt>
                <c:pt idx="51">
                  <c:v>675.698897108598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C$2:$C$53</c:f>
              <c:numCache>
                <c:formatCode>General</c:formatCode>
                <c:ptCount val="52"/>
                <c:pt idx="0">
                  <c:v>831.90113577419879</c:v>
                </c:pt>
                <c:pt idx="1">
                  <c:v>528.2524989155072</c:v>
                </c:pt>
                <c:pt idx="2">
                  <c:v>450.76000527027509</c:v>
                </c:pt>
                <c:pt idx="3">
                  <c:v>443.45680296100437</c:v>
                </c:pt>
                <c:pt idx="4">
                  <c:v>468.48967438471453</c:v>
                </c:pt>
                <c:pt idx="5">
                  <c:v>500.72288611333954</c:v>
                </c:pt>
                <c:pt idx="6">
                  <c:v>620.33269499667051</c:v>
                </c:pt>
                <c:pt idx="7">
                  <c:v>775.88809885674493</c:v>
                </c:pt>
                <c:pt idx="8">
                  <c:v>798.43357999330283</c:v>
                </c:pt>
                <c:pt idx="9">
                  <c:v>722.29699458730784</c:v>
                </c:pt>
                <c:pt idx="10">
                  <c:v>608.41940467399331</c:v>
                </c:pt>
                <c:pt idx="11">
                  <c:v>462.8603174190539</c:v>
                </c:pt>
                <c:pt idx="12">
                  <c:v>346.54209267511249</c:v>
                </c:pt>
                <c:pt idx="13">
                  <c:v>256.36951922018631</c:v>
                </c:pt>
                <c:pt idx="14">
                  <c:v>201.48796435064759</c:v>
                </c:pt>
                <c:pt idx="15">
                  <c:v>163.69085329549759</c:v>
                </c:pt>
                <c:pt idx="16">
                  <c:v>134.93624753236389</c:v>
                </c:pt>
                <c:pt idx="17">
                  <c:v>101.55285157321357</c:v>
                </c:pt>
                <c:pt idx="18">
                  <c:v>71.582603940418963</c:v>
                </c:pt>
                <c:pt idx="19">
                  <c:v>46.895722894996879</c:v>
                </c:pt>
                <c:pt idx="20">
                  <c:v>29.998300906709865</c:v>
                </c:pt>
                <c:pt idx="21">
                  <c:v>22.059224388693448</c:v>
                </c:pt>
                <c:pt idx="22">
                  <c:v>13.344007292355045</c:v>
                </c:pt>
                <c:pt idx="23">
                  <c:v>8.7900258267790754</c:v>
                </c:pt>
                <c:pt idx="24">
                  <c:v>6.5177106396436342</c:v>
                </c:pt>
                <c:pt idx="25">
                  <c:v>9.5007087659654683</c:v>
                </c:pt>
                <c:pt idx="26">
                  <c:v>12.736186357524575</c:v>
                </c:pt>
                <c:pt idx="27">
                  <c:v>15.064608092490522</c:v>
                </c:pt>
                <c:pt idx="28">
                  <c:v>12.63332435316865</c:v>
                </c:pt>
                <c:pt idx="29">
                  <c:v>11.127798653050107</c:v>
                </c:pt>
                <c:pt idx="30">
                  <c:v>11.230660657406032</c:v>
                </c:pt>
                <c:pt idx="31">
                  <c:v>11.969396870507678</c:v>
                </c:pt>
                <c:pt idx="32">
                  <c:v>12.184471970524612</c:v>
                </c:pt>
                <c:pt idx="33">
                  <c:v>12.343440522711042</c:v>
                </c:pt>
                <c:pt idx="34">
                  <c:v>16.420516331727718</c:v>
                </c:pt>
                <c:pt idx="35">
                  <c:v>24.38764612365939</c:v>
                </c:pt>
                <c:pt idx="36">
                  <c:v>28.698499215303173</c:v>
                </c:pt>
                <c:pt idx="37">
                  <c:v>30.559366385014911</c:v>
                </c:pt>
                <c:pt idx="38">
                  <c:v>42.09861305548872</c:v>
                </c:pt>
                <c:pt idx="39">
                  <c:v>55.966281460928478</c:v>
                </c:pt>
                <c:pt idx="40">
                  <c:v>90.013604902739772</c:v>
                </c:pt>
                <c:pt idx="41">
                  <c:v>201.44120889412218</c:v>
                </c:pt>
                <c:pt idx="42">
                  <c:v>321.70559416880906</c:v>
                </c:pt>
                <c:pt idx="43">
                  <c:v>500.53586428723781</c:v>
                </c:pt>
                <c:pt idx="44">
                  <c:v>720.09948813061305</c:v>
                </c:pt>
                <c:pt idx="45">
                  <c:v>1004.6064410877974</c:v>
                </c:pt>
                <c:pt idx="46">
                  <c:v>1202.6812571120893</c:v>
                </c:pt>
                <c:pt idx="47">
                  <c:v>1069.5871745668271</c:v>
                </c:pt>
                <c:pt idx="48">
                  <c:v>852.1836528149264</c:v>
                </c:pt>
                <c:pt idx="49">
                  <c:v>639.47437889817775</c:v>
                </c:pt>
                <c:pt idx="50">
                  <c:v>379.70106244294078</c:v>
                </c:pt>
                <c:pt idx="51">
                  <c:v>335.152463465520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D$2:$D$53</c:f>
              <c:numCache>
                <c:formatCode>General</c:formatCode>
                <c:ptCount val="52"/>
                <c:pt idx="0">
                  <c:v>183.85561923924902</c:v>
                </c:pt>
                <c:pt idx="1">
                  <c:v>179.12004322743113</c:v>
                </c:pt>
                <c:pt idx="2">
                  <c:v>197.08938545295217</c:v>
                </c:pt>
                <c:pt idx="3">
                  <c:v>199.34725105457179</c:v>
                </c:pt>
                <c:pt idx="4">
                  <c:v>195.66930682456515</c:v>
                </c:pt>
                <c:pt idx="5">
                  <c:v>170.072241004099</c:v>
                </c:pt>
                <c:pt idx="6">
                  <c:v>178.99972275787113</c:v>
                </c:pt>
                <c:pt idx="7">
                  <c:v>193.95956780649664</c:v>
                </c:pt>
                <c:pt idx="8">
                  <c:v>188.64467101531582</c:v>
                </c:pt>
                <c:pt idx="9">
                  <c:v>214.91612564047625</c:v>
                </c:pt>
                <c:pt idx="10">
                  <c:v>275.77303079360291</c:v>
                </c:pt>
                <c:pt idx="11">
                  <c:v>335.80106160087189</c:v>
                </c:pt>
                <c:pt idx="12">
                  <c:v>363.58172112816749</c:v>
                </c:pt>
                <c:pt idx="13">
                  <c:v>305.67489563610428</c:v>
                </c:pt>
                <c:pt idx="14">
                  <c:v>304.73164257226983</c:v>
                </c:pt>
                <c:pt idx="15">
                  <c:v>271.34345498832027</c:v>
                </c:pt>
                <c:pt idx="16">
                  <c:v>217.23489419582373</c:v>
                </c:pt>
                <c:pt idx="17">
                  <c:v>162.86044001997854</c:v>
                </c:pt>
                <c:pt idx="18">
                  <c:v>124.7322201105237</c:v>
                </c:pt>
                <c:pt idx="19">
                  <c:v>126.63060974135911</c:v>
                </c:pt>
                <c:pt idx="20">
                  <c:v>93.884131328396208</c:v>
                </c:pt>
                <c:pt idx="21">
                  <c:v>72.467087746717866</c:v>
                </c:pt>
                <c:pt idx="22">
                  <c:v>43.313883603700859</c:v>
                </c:pt>
                <c:pt idx="23">
                  <c:v>25.408415207699271</c:v>
                </c:pt>
                <c:pt idx="24">
                  <c:v>18.884371969335334</c:v>
                </c:pt>
                <c:pt idx="25">
                  <c:v>23.156491357662905</c:v>
                </c:pt>
                <c:pt idx="26">
                  <c:v>37.881637218751642</c:v>
                </c:pt>
                <c:pt idx="27">
                  <c:v>75.204749788681596</c:v>
                </c:pt>
                <c:pt idx="28">
                  <c:v>181.43435546909117</c:v>
                </c:pt>
                <c:pt idx="29">
                  <c:v>226.51293929300525</c:v>
                </c:pt>
                <c:pt idx="30">
                  <c:v>234.70215841256362</c:v>
                </c:pt>
                <c:pt idx="31">
                  <c:v>246.3687876461953</c:v>
                </c:pt>
                <c:pt idx="32">
                  <c:v>221.9437323255172</c:v>
                </c:pt>
                <c:pt idx="33">
                  <c:v>185.58615438785876</c:v>
                </c:pt>
                <c:pt idx="34">
                  <c:v>141.55777515627699</c:v>
                </c:pt>
                <c:pt idx="35">
                  <c:v>104.76496391514847</c:v>
                </c:pt>
                <c:pt idx="36">
                  <c:v>75.831604580710206</c:v>
                </c:pt>
                <c:pt idx="37">
                  <c:v>58.890185379084343</c:v>
                </c:pt>
                <c:pt idx="38">
                  <c:v>49.687897614588763</c:v>
                </c:pt>
                <c:pt idx="39">
                  <c:v>43.355475864783322</c:v>
                </c:pt>
                <c:pt idx="40">
                  <c:v>48.607984264340445</c:v>
                </c:pt>
                <c:pt idx="41">
                  <c:v>53.426744798323284</c:v>
                </c:pt>
                <c:pt idx="42">
                  <c:v>59.011991286540137</c:v>
                </c:pt>
                <c:pt idx="43">
                  <c:v>73.218719321993859</c:v>
                </c:pt>
                <c:pt idx="44">
                  <c:v>100.66366988483814</c:v>
                </c:pt>
                <c:pt idx="45">
                  <c:v>181.05408336776577</c:v>
                </c:pt>
                <c:pt idx="46">
                  <c:v>293.45122719154676</c:v>
                </c:pt>
                <c:pt idx="47">
                  <c:v>432.75410762199573</c:v>
                </c:pt>
                <c:pt idx="48">
                  <c:v>505.67722480272494</c:v>
                </c:pt>
                <c:pt idx="49">
                  <c:v>540.85536505111634</c:v>
                </c:pt>
                <c:pt idx="50">
                  <c:v>770.22331597985362</c:v>
                </c:pt>
                <c:pt idx="51">
                  <c:v>1666.52911511751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F$2:$F$53</c:f>
              <c:numCache>
                <c:formatCode>General</c:formatCode>
                <c:ptCount val="52"/>
                <c:pt idx="0">
                  <c:v>204.68302199301266</c:v>
                </c:pt>
                <c:pt idx="1">
                  <c:v>157.63020533625854</c:v>
                </c:pt>
                <c:pt idx="2">
                  <c:v>142.58530907210096</c:v>
                </c:pt>
                <c:pt idx="3">
                  <c:v>138.63839212059901</c:v>
                </c:pt>
                <c:pt idx="4">
                  <c:v>139.74332766479603</c:v>
                </c:pt>
                <c:pt idx="5">
                  <c:v>139.70644059048291</c:v>
                </c:pt>
                <c:pt idx="6">
                  <c:v>150.59986430922046</c:v>
                </c:pt>
                <c:pt idx="7">
                  <c:v>203.78431872792981</c:v>
                </c:pt>
                <c:pt idx="8">
                  <c:v>239.17243647576331</c:v>
                </c:pt>
                <c:pt idx="9">
                  <c:v>261.61486782489396</c:v>
                </c:pt>
                <c:pt idx="10">
                  <c:v>250.44311436361212</c:v>
                </c:pt>
                <c:pt idx="11">
                  <c:v>242.37155182982693</c:v>
                </c:pt>
                <c:pt idx="12">
                  <c:v>220.40697576157052</c:v>
                </c:pt>
                <c:pt idx="13">
                  <c:v>168.91094333528366</c:v>
                </c:pt>
                <c:pt idx="14">
                  <c:v>164.02843604438573</c:v>
                </c:pt>
                <c:pt idx="15">
                  <c:v>153.07297497339437</c:v>
                </c:pt>
                <c:pt idx="16">
                  <c:v>130.71940793965436</c:v>
                </c:pt>
                <c:pt idx="17">
                  <c:v>106.84005737750876</c:v>
                </c:pt>
                <c:pt idx="18">
                  <c:v>74.404582259919479</c:v>
                </c:pt>
                <c:pt idx="19">
                  <c:v>51.019853830608653</c:v>
                </c:pt>
                <c:pt idx="20">
                  <c:v>37.586252039855211</c:v>
                </c:pt>
                <c:pt idx="21">
                  <c:v>27.261224602578658</c:v>
                </c:pt>
                <c:pt idx="22">
                  <c:v>19.382480866339215</c:v>
                </c:pt>
                <c:pt idx="23">
                  <c:v>12.40579376557473</c:v>
                </c:pt>
                <c:pt idx="24">
                  <c:v>8.8260708720077545</c:v>
                </c:pt>
                <c:pt idx="25">
                  <c:v>9.4380609685660417</c:v>
                </c:pt>
                <c:pt idx="26">
                  <c:v>14.769919892005376</c:v>
                </c:pt>
                <c:pt idx="27">
                  <c:v>31.610546001132636</c:v>
                </c:pt>
                <c:pt idx="28">
                  <c:v>52.413179228526296</c:v>
                </c:pt>
                <c:pt idx="29">
                  <c:v>64.331057602050436</c:v>
                </c:pt>
                <c:pt idx="30">
                  <c:v>71.284271110070236</c:v>
                </c:pt>
                <c:pt idx="31">
                  <c:v>72.320462561229192</c:v>
                </c:pt>
                <c:pt idx="32">
                  <c:v>75.968929547834222</c:v>
                </c:pt>
                <c:pt idx="33">
                  <c:v>77.194586426146856</c:v>
                </c:pt>
                <c:pt idx="34">
                  <c:v>67.018783971318754</c:v>
                </c:pt>
                <c:pt idx="35">
                  <c:v>55.354085062398177</c:v>
                </c:pt>
                <c:pt idx="36">
                  <c:v>48.412608350750737</c:v>
                </c:pt>
                <c:pt idx="37">
                  <c:v>39.635161349428436</c:v>
                </c:pt>
                <c:pt idx="38">
                  <c:v>35.004156837938048</c:v>
                </c:pt>
                <c:pt idx="39">
                  <c:v>30.244047566351796</c:v>
                </c:pt>
                <c:pt idx="40">
                  <c:v>29.945597601454882</c:v>
                </c:pt>
                <c:pt idx="41">
                  <c:v>42.592834035260822</c:v>
                </c:pt>
                <c:pt idx="42">
                  <c:v>53.922195904971389</c:v>
                </c:pt>
                <c:pt idx="43">
                  <c:v>65.303535015759508</c:v>
                </c:pt>
                <c:pt idx="44">
                  <c:v>90.432016048962439</c:v>
                </c:pt>
                <c:pt idx="45">
                  <c:v>115.85559367667017</c:v>
                </c:pt>
                <c:pt idx="46">
                  <c:v>144.47157991765732</c:v>
                </c:pt>
                <c:pt idx="47">
                  <c:v>175.01743081929814</c:v>
                </c:pt>
                <c:pt idx="48">
                  <c:v>205.94556594563841</c:v>
                </c:pt>
                <c:pt idx="49">
                  <c:v>288.39656046140232</c:v>
                </c:pt>
                <c:pt idx="50">
                  <c:v>467.951101421212</c:v>
                </c:pt>
                <c:pt idx="51">
                  <c:v>801.634929027927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K$2:$K$53</c:f>
              <c:numCache>
                <c:formatCode>General</c:formatCode>
                <c:ptCount val="52"/>
                <c:pt idx="0">
                  <c:v>151.54266440357495</c:v>
                </c:pt>
                <c:pt idx="1">
                  <c:v>92.604288068837732</c:v>
                </c:pt>
                <c:pt idx="2">
                  <c:v>78.949582610251511</c:v>
                </c:pt>
                <c:pt idx="3">
                  <c:v>84.855703337091285</c:v>
                </c:pt>
                <c:pt idx="4">
                  <c:v>91.549989221585577</c:v>
                </c:pt>
                <c:pt idx="5">
                  <c:v>114.36583514901338</c:v>
                </c:pt>
                <c:pt idx="6">
                  <c:v>171.08301876672419</c:v>
                </c:pt>
                <c:pt idx="7">
                  <c:v>280.19783150175351</c:v>
                </c:pt>
                <c:pt idx="8">
                  <c:v>366.36373146455622</c:v>
                </c:pt>
                <c:pt idx="9">
                  <c:v>567.89858586793252</c:v>
                </c:pt>
                <c:pt idx="10">
                  <c:v>577.72506056076827</c:v>
                </c:pt>
                <c:pt idx="11">
                  <c:v>619.03719791523145</c:v>
                </c:pt>
                <c:pt idx="12">
                  <c:v>499.06208346239112</c:v>
                </c:pt>
                <c:pt idx="13">
                  <c:v>362.47408523197544</c:v>
                </c:pt>
                <c:pt idx="14">
                  <c:v>286.11418813973165</c:v>
                </c:pt>
                <c:pt idx="15">
                  <c:v>187.14316334282748</c:v>
                </c:pt>
                <c:pt idx="16">
                  <c:v>130.15984603551902</c:v>
                </c:pt>
                <c:pt idx="17">
                  <c:v>84.702164670015719</c:v>
                </c:pt>
                <c:pt idx="18">
                  <c:v>63.431941324481862</c:v>
                </c:pt>
                <c:pt idx="19">
                  <c:v>38.620092725071821</c:v>
                </c:pt>
                <c:pt idx="20">
                  <c:v>22.437117215308092</c:v>
                </c:pt>
                <c:pt idx="21">
                  <c:v>15.875898175612614</c:v>
                </c:pt>
                <c:pt idx="22">
                  <c:v>9.7855310482821789</c:v>
                </c:pt>
                <c:pt idx="23">
                  <c:v>5.9880080159467308</c:v>
                </c:pt>
                <c:pt idx="24">
                  <c:v>4.217195389008638</c:v>
                </c:pt>
                <c:pt idx="25">
                  <c:v>2.2519004504415054</c:v>
                </c:pt>
                <c:pt idx="26">
                  <c:v>2.8353473853286228</c:v>
                </c:pt>
                <c:pt idx="27">
                  <c:v>3.3266711199704058</c:v>
                </c:pt>
                <c:pt idx="28">
                  <c:v>4.0738926330714511</c:v>
                </c:pt>
                <c:pt idx="29">
                  <c:v>3.9305898771342638</c:v>
                </c:pt>
                <c:pt idx="30">
                  <c:v>3.7361075655052254</c:v>
                </c:pt>
                <c:pt idx="31">
                  <c:v>5.0463041912166471</c:v>
                </c:pt>
                <c:pt idx="32">
                  <c:v>6.3155571723745858</c:v>
                </c:pt>
                <c:pt idx="33">
                  <c:v>11.32091771903775</c:v>
                </c:pt>
                <c:pt idx="34">
                  <c:v>14.954666173159271</c:v>
                </c:pt>
                <c:pt idx="35">
                  <c:v>19.622241652256211</c:v>
                </c:pt>
                <c:pt idx="36">
                  <c:v>26.87950264936088</c:v>
                </c:pt>
                <c:pt idx="37">
                  <c:v>31.004574838124185</c:v>
                </c:pt>
                <c:pt idx="38">
                  <c:v>37.013054676347657</c:v>
                </c:pt>
                <c:pt idx="39">
                  <c:v>46.89070892487517</c:v>
                </c:pt>
                <c:pt idx="40">
                  <c:v>70.955336011184158</c:v>
                </c:pt>
                <c:pt idx="41">
                  <c:v>144.56177300720628</c:v>
                </c:pt>
                <c:pt idx="42">
                  <c:v>246.85946892408086</c:v>
                </c:pt>
                <c:pt idx="43">
                  <c:v>362.02370514188715</c:v>
                </c:pt>
                <c:pt idx="44">
                  <c:v>520.46537365272377</c:v>
                </c:pt>
                <c:pt idx="45">
                  <c:v>663.8295450567407</c:v>
                </c:pt>
                <c:pt idx="46">
                  <c:v>726.96464495820987</c:v>
                </c:pt>
                <c:pt idx="47">
                  <c:v>622.85519276984371</c:v>
                </c:pt>
                <c:pt idx="48">
                  <c:v>423.4698797055251</c:v>
                </c:pt>
                <c:pt idx="49">
                  <c:v>301.5601780475327</c:v>
                </c:pt>
                <c:pt idx="50">
                  <c:v>173.18138055009015</c:v>
                </c:pt>
                <c:pt idx="51">
                  <c:v>173.611288817901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E$2:$E$53</c:f>
              <c:numCache>
                <c:formatCode>General</c:formatCode>
                <c:ptCount val="52"/>
                <c:pt idx="0">
                  <c:v>174.86563824797642</c:v>
                </c:pt>
                <c:pt idx="1">
                  <c:v>142.93579554925526</c:v>
                </c:pt>
                <c:pt idx="2">
                  <c:v>114.84522936106011</c:v>
                </c:pt>
                <c:pt idx="3">
                  <c:v>93.933016059754962</c:v>
                </c:pt>
                <c:pt idx="4">
                  <c:v>77.617593895230499</c:v>
                </c:pt>
                <c:pt idx="5">
                  <c:v>61.084536576178898</c:v>
                </c:pt>
                <c:pt idx="6">
                  <c:v>62.992751991839619</c:v>
                </c:pt>
                <c:pt idx="7">
                  <c:v>67.744653266377213</c:v>
                </c:pt>
                <c:pt idx="8">
                  <c:v>70.181926516247586</c:v>
                </c:pt>
                <c:pt idx="9">
                  <c:v>85.754262904541221</c:v>
                </c:pt>
                <c:pt idx="10">
                  <c:v>111.31376831771068</c:v>
                </c:pt>
                <c:pt idx="11">
                  <c:v>139.79391345655114</c:v>
                </c:pt>
                <c:pt idx="12">
                  <c:v>132.38590137344735</c:v>
                </c:pt>
                <c:pt idx="13">
                  <c:v>142.20834102721702</c:v>
                </c:pt>
                <c:pt idx="14">
                  <c:v>170.80030975374271</c:v>
                </c:pt>
                <c:pt idx="15">
                  <c:v>174.03237215909621</c:v>
                </c:pt>
                <c:pt idx="16">
                  <c:v>150.03959937768852</c:v>
                </c:pt>
                <c:pt idx="17">
                  <c:v>121.4103561219344</c:v>
                </c:pt>
                <c:pt idx="18">
                  <c:v>85.12179831182695</c:v>
                </c:pt>
                <c:pt idx="19">
                  <c:v>63.347461221593818</c:v>
                </c:pt>
                <c:pt idx="20">
                  <c:v>35.930241367847287</c:v>
                </c:pt>
                <c:pt idx="21">
                  <c:v>24.86692061202228</c:v>
                </c:pt>
                <c:pt idx="22">
                  <c:v>16.876944911287882</c:v>
                </c:pt>
                <c:pt idx="23">
                  <c:v>8.7474903269891247</c:v>
                </c:pt>
                <c:pt idx="24">
                  <c:v>5.8076121346195837</c:v>
                </c:pt>
                <c:pt idx="25">
                  <c:v>5.2412797711815253</c:v>
                </c:pt>
                <c:pt idx="26">
                  <c:v>6.7034032402700161</c:v>
                </c:pt>
                <c:pt idx="27">
                  <c:v>10.94187793479052</c:v>
                </c:pt>
                <c:pt idx="28">
                  <c:v>15.181555033479682</c:v>
                </c:pt>
                <c:pt idx="29">
                  <c:v>18.640871826709606</c:v>
                </c:pt>
                <c:pt idx="30">
                  <c:v>24.545878698990514</c:v>
                </c:pt>
                <c:pt idx="31">
                  <c:v>38.551482455522383</c:v>
                </c:pt>
                <c:pt idx="32">
                  <c:v>59.668104465499425</c:v>
                </c:pt>
                <c:pt idx="33">
                  <c:v>79.775909377972155</c:v>
                </c:pt>
                <c:pt idx="34">
                  <c:v>89.790733698727124</c:v>
                </c:pt>
                <c:pt idx="35">
                  <c:v>86.17510436357162</c:v>
                </c:pt>
                <c:pt idx="36">
                  <c:v>73.890140972389787</c:v>
                </c:pt>
                <c:pt idx="37">
                  <c:v>64.453673056759456</c:v>
                </c:pt>
                <c:pt idx="38">
                  <c:v>67.894953787459499</c:v>
                </c:pt>
                <c:pt idx="39">
                  <c:v>69.709381677964871</c:v>
                </c:pt>
                <c:pt idx="40">
                  <c:v>78.543445105097405</c:v>
                </c:pt>
                <c:pt idx="41">
                  <c:v>117.45805361955458</c:v>
                </c:pt>
                <c:pt idx="42">
                  <c:v>164.75822880623474</c:v>
                </c:pt>
                <c:pt idx="43">
                  <c:v>213.93174968768452</c:v>
                </c:pt>
                <c:pt idx="44">
                  <c:v>326.33850339470564</c:v>
                </c:pt>
                <c:pt idx="45">
                  <c:v>422.95408315473719</c:v>
                </c:pt>
                <c:pt idx="46">
                  <c:v>484.99693585333677</c:v>
                </c:pt>
                <c:pt idx="47">
                  <c:v>466.83943050242783</c:v>
                </c:pt>
                <c:pt idx="48">
                  <c:v>406.30439263132575</c:v>
                </c:pt>
                <c:pt idx="49">
                  <c:v>328.82267040715362</c:v>
                </c:pt>
                <c:pt idx="50">
                  <c:v>233.24476544467413</c:v>
                </c:pt>
                <c:pt idx="51">
                  <c:v>244.121713554357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G$2:$G$53</c:f>
              <c:numCache>
                <c:formatCode>General</c:formatCode>
                <c:ptCount val="52"/>
                <c:pt idx="0">
                  <c:v>297.63462306804763</c:v>
                </c:pt>
                <c:pt idx="1">
                  <c:v>229.10702432301784</c:v>
                </c:pt>
                <c:pt idx="2">
                  <c:v>209.82232745093589</c:v>
                </c:pt>
                <c:pt idx="3">
                  <c:v>170.67272686015895</c:v>
                </c:pt>
                <c:pt idx="4">
                  <c:v>156.97754743119162</c:v>
                </c:pt>
                <c:pt idx="5">
                  <c:v>135.22840761656485</c:v>
                </c:pt>
                <c:pt idx="6">
                  <c:v>157.06946138709074</c:v>
                </c:pt>
                <c:pt idx="7">
                  <c:v>183.74748708680727</c:v>
                </c:pt>
                <c:pt idx="8">
                  <c:v>179.86986707231358</c:v>
                </c:pt>
                <c:pt idx="9">
                  <c:v>212.71761706175784</c:v>
                </c:pt>
                <c:pt idx="10">
                  <c:v>255.07846148675995</c:v>
                </c:pt>
                <c:pt idx="11">
                  <c:v>292.75169416090745</c:v>
                </c:pt>
                <c:pt idx="12">
                  <c:v>285.83516897949943</c:v>
                </c:pt>
                <c:pt idx="13">
                  <c:v>278.51652024103288</c:v>
                </c:pt>
                <c:pt idx="14">
                  <c:v>305.49326629742148</c:v>
                </c:pt>
                <c:pt idx="15">
                  <c:v>329.43685180913951</c:v>
                </c:pt>
                <c:pt idx="16">
                  <c:v>266.96982953120727</c:v>
                </c:pt>
                <c:pt idx="17">
                  <c:v>301.37437214869266</c:v>
                </c:pt>
                <c:pt idx="18">
                  <c:v>219.31818801976263</c:v>
                </c:pt>
                <c:pt idx="19">
                  <c:v>161.31473722518086</c:v>
                </c:pt>
                <c:pt idx="20">
                  <c:v>121.38386800926149</c:v>
                </c:pt>
                <c:pt idx="21">
                  <c:v>91.345238296983766</c:v>
                </c:pt>
                <c:pt idx="22">
                  <c:v>56.866015590330306</c:v>
                </c:pt>
                <c:pt idx="23">
                  <c:v>36.156652401812195</c:v>
                </c:pt>
                <c:pt idx="24">
                  <c:v>24.874214315196511</c:v>
                </c:pt>
                <c:pt idx="25">
                  <c:v>33.393489102595218</c:v>
                </c:pt>
                <c:pt idx="26">
                  <c:v>224.6549420841547</c:v>
                </c:pt>
                <c:pt idx="27">
                  <c:v>402.73823163867939</c:v>
                </c:pt>
                <c:pt idx="28">
                  <c:v>258.37013003239679</c:v>
                </c:pt>
                <c:pt idx="29">
                  <c:v>140.14580425716721</c:v>
                </c:pt>
                <c:pt idx="30">
                  <c:v>103.60426216502749</c:v>
                </c:pt>
                <c:pt idx="31">
                  <c:v>92.557353590403252</c:v>
                </c:pt>
                <c:pt idx="32">
                  <c:v>97.187519118820902</c:v>
                </c:pt>
                <c:pt idx="33">
                  <c:v>102.42661460507016</c:v>
                </c:pt>
                <c:pt idx="34">
                  <c:v>101.43853957915471</c:v>
                </c:pt>
                <c:pt idx="35">
                  <c:v>96.027105425594641</c:v>
                </c:pt>
                <c:pt idx="36">
                  <c:v>80.551093101082088</c:v>
                </c:pt>
                <c:pt idx="37">
                  <c:v>66.706553493778728</c:v>
                </c:pt>
                <c:pt idx="38">
                  <c:v>66.310174558963809</c:v>
                </c:pt>
                <c:pt idx="39">
                  <c:v>92.677990657520837</c:v>
                </c:pt>
                <c:pt idx="40">
                  <c:v>135.17670601637161</c:v>
                </c:pt>
                <c:pt idx="41">
                  <c:v>200.10242661460506</c:v>
                </c:pt>
                <c:pt idx="42">
                  <c:v>284.12327155087854</c:v>
                </c:pt>
                <c:pt idx="43">
                  <c:v>395.90787579092677</c:v>
                </c:pt>
                <c:pt idx="44">
                  <c:v>539.80491837322643</c:v>
                </c:pt>
                <c:pt idx="45">
                  <c:v>844.78691329095921</c:v>
                </c:pt>
                <c:pt idx="46">
                  <c:v>902.81334257451567</c:v>
                </c:pt>
                <c:pt idx="47">
                  <c:v>874.50958877983362</c:v>
                </c:pt>
                <c:pt idx="48">
                  <c:v>738.61480498300023</c:v>
                </c:pt>
                <c:pt idx="49">
                  <c:v>572.9973456972923</c:v>
                </c:pt>
                <c:pt idx="50">
                  <c:v>489.49351676295129</c:v>
                </c:pt>
                <c:pt idx="51">
                  <c:v>579.821956922801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J$2:$J$53</c:f>
              <c:numCache>
                <c:formatCode>General</c:formatCode>
                <c:ptCount val="52"/>
                <c:pt idx="0">
                  <c:v>177.08719010400353</c:v>
                </c:pt>
                <c:pt idx="1">
                  <c:v>127.97782652036304</c:v>
                </c:pt>
                <c:pt idx="2">
                  <c:v>102.60777280487257</c:v>
                </c:pt>
                <c:pt idx="3">
                  <c:v>99.48591261246797</c:v>
                </c:pt>
                <c:pt idx="4">
                  <c:v>96.933100353868781</c:v>
                </c:pt>
                <c:pt idx="5">
                  <c:v>102.25475232741921</c:v>
                </c:pt>
                <c:pt idx="6">
                  <c:v>134.76425002722738</c:v>
                </c:pt>
                <c:pt idx="7">
                  <c:v>182.10324226125107</c:v>
                </c:pt>
                <c:pt idx="8">
                  <c:v>235.57267218955786</c:v>
                </c:pt>
                <c:pt idx="9">
                  <c:v>308.46876630249881</c:v>
                </c:pt>
                <c:pt idx="10">
                  <c:v>409.79881573748429</c:v>
                </c:pt>
                <c:pt idx="11">
                  <c:v>511.10515484189449</c:v>
                </c:pt>
                <c:pt idx="12">
                  <c:v>475.56073482845761</c:v>
                </c:pt>
                <c:pt idx="13">
                  <c:v>363.9377674426496</c:v>
                </c:pt>
                <c:pt idx="14">
                  <c:v>286.40762094283969</c:v>
                </c:pt>
                <c:pt idx="15">
                  <c:v>176.51814217019813</c:v>
                </c:pt>
                <c:pt idx="16">
                  <c:v>114.43395879955965</c:v>
                </c:pt>
                <c:pt idx="17">
                  <c:v>77.274601825832448</c:v>
                </c:pt>
                <c:pt idx="18">
                  <c:v>54.109608853837884</c:v>
                </c:pt>
                <c:pt idx="19">
                  <c:v>28.974023962924633</c:v>
                </c:pt>
                <c:pt idx="20">
                  <c:v>16.128293753502874</c:v>
                </c:pt>
                <c:pt idx="21">
                  <c:v>8.0509744708763105</c:v>
                </c:pt>
                <c:pt idx="22">
                  <c:v>5.6377897145534375</c:v>
                </c:pt>
                <c:pt idx="23">
                  <c:v>3.2246049582305645</c:v>
                </c:pt>
                <c:pt idx="24">
                  <c:v>2.2287710740711253</c:v>
                </c:pt>
                <c:pt idx="25">
                  <c:v>1.630743847340457</c:v>
                </c:pt>
                <c:pt idx="26">
                  <c:v>1.4753094580139838</c:v>
                </c:pt>
                <c:pt idx="27">
                  <c:v>1.6570886590907066</c:v>
                </c:pt>
                <c:pt idx="28">
                  <c:v>1.9442471071684286</c:v>
                </c:pt>
                <c:pt idx="29">
                  <c:v>2.3604951328223742</c:v>
                </c:pt>
                <c:pt idx="30">
                  <c:v>2.7451293843760198</c:v>
                </c:pt>
                <c:pt idx="31">
                  <c:v>3.4274600087074871</c:v>
                </c:pt>
                <c:pt idx="32">
                  <c:v>3.5565495862837109</c:v>
                </c:pt>
                <c:pt idx="33">
                  <c:v>4.2467836541402537</c:v>
                </c:pt>
                <c:pt idx="34">
                  <c:v>6.014520522582008</c:v>
                </c:pt>
                <c:pt idx="35">
                  <c:v>8.5646983000061798</c:v>
                </c:pt>
                <c:pt idx="36">
                  <c:v>11.539027546609372</c:v>
                </c:pt>
                <c:pt idx="37">
                  <c:v>14.115550135783794</c:v>
                </c:pt>
                <c:pt idx="38">
                  <c:v>20.801863357997171</c:v>
                </c:pt>
                <c:pt idx="39">
                  <c:v>30.970960693593558</c:v>
                </c:pt>
                <c:pt idx="40">
                  <c:v>46.946454538944984</c:v>
                </c:pt>
                <c:pt idx="41">
                  <c:v>91.564027719167896</c:v>
                </c:pt>
                <c:pt idx="42">
                  <c:v>142.98646577448031</c:v>
                </c:pt>
                <c:pt idx="43">
                  <c:v>214.39934698588218</c:v>
                </c:pt>
                <c:pt idx="44">
                  <c:v>269.99743770360914</c:v>
                </c:pt>
                <c:pt idx="45">
                  <c:v>378.62763447458883</c:v>
                </c:pt>
                <c:pt idx="46">
                  <c:v>430.01845875580096</c:v>
                </c:pt>
                <c:pt idx="47">
                  <c:v>431.23558905866247</c:v>
                </c:pt>
                <c:pt idx="48">
                  <c:v>408.2049546265942</c:v>
                </c:pt>
                <c:pt idx="49">
                  <c:v>339.38176841024182</c:v>
                </c:pt>
                <c:pt idx="50">
                  <c:v>227.70611140093331</c:v>
                </c:pt>
                <c:pt idx="51">
                  <c:v>208.076592165822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B$2:$B$53</c:f>
              <c:numCache>
                <c:formatCode>General</c:formatCode>
                <c:ptCount val="52"/>
                <c:pt idx="0">
                  <c:v>164.40731130570458</c:v>
                </c:pt>
                <c:pt idx="1">
                  <c:v>122.98529703864618</c:v>
                </c:pt>
                <c:pt idx="2">
                  <c:v>114.19983049217487</c:v>
                </c:pt>
                <c:pt idx="3">
                  <c:v>106.87486349946478</c:v>
                </c:pt>
                <c:pt idx="4">
                  <c:v>102.44842639037311</c:v>
                </c:pt>
                <c:pt idx="5">
                  <c:v>106.24572523015225</c:v>
                </c:pt>
                <c:pt idx="6">
                  <c:v>130.71471006162861</c:v>
                </c:pt>
                <c:pt idx="7">
                  <c:v>159.49778588267648</c:v>
                </c:pt>
                <c:pt idx="8">
                  <c:v>183.39380550460035</c:v>
                </c:pt>
                <c:pt idx="9">
                  <c:v>204.7508028253701</c:v>
                </c:pt>
                <c:pt idx="10">
                  <c:v>236.98290451568488</c:v>
                </c:pt>
                <c:pt idx="11">
                  <c:v>250.82394644056035</c:v>
                </c:pt>
                <c:pt idx="12">
                  <c:v>233.54511325837001</c:v>
                </c:pt>
                <c:pt idx="13">
                  <c:v>197.90892414659643</c:v>
                </c:pt>
                <c:pt idx="14">
                  <c:v>188.98864225670098</c:v>
                </c:pt>
                <c:pt idx="15">
                  <c:v>169.05844065383644</c:v>
                </c:pt>
                <c:pt idx="16">
                  <c:v>140.84833004234099</c:v>
                </c:pt>
                <c:pt idx="17">
                  <c:v>101.34743441907619</c:v>
                </c:pt>
                <c:pt idx="18">
                  <c:v>64.441734156725531</c:v>
                </c:pt>
                <c:pt idx="19">
                  <c:v>46.69104727255079</c:v>
                </c:pt>
                <c:pt idx="20">
                  <c:v>35.501373768349488</c:v>
                </c:pt>
                <c:pt idx="21">
                  <c:v>27.232699371670623</c:v>
                </c:pt>
                <c:pt idx="22">
                  <c:v>18.930321139135724</c:v>
                </c:pt>
                <c:pt idx="23">
                  <c:v>11.257081175913353</c:v>
                </c:pt>
                <c:pt idx="24">
                  <c:v>7.6283015154143374</c:v>
                </c:pt>
                <c:pt idx="25">
                  <c:v>7.1115093656219077</c:v>
                </c:pt>
                <c:pt idx="26">
                  <c:v>12.279430863546201</c:v>
                </c:pt>
                <c:pt idx="27">
                  <c:v>24.626269398804457</c:v>
                </c:pt>
                <c:pt idx="28">
                  <c:v>28.446037462487631</c:v>
                </c:pt>
                <c:pt idx="29">
                  <c:v>36.523723455982342</c:v>
                </c:pt>
                <c:pt idx="30">
                  <c:v>41.19732202801822</c:v>
                </c:pt>
                <c:pt idx="31">
                  <c:v>66.284210516855055</c:v>
                </c:pt>
                <c:pt idx="32">
                  <c:v>90.584676169051249</c:v>
                </c:pt>
                <c:pt idx="33">
                  <c:v>106.00979837916006</c:v>
                </c:pt>
                <c:pt idx="34">
                  <c:v>127.01852272941751</c:v>
                </c:pt>
                <c:pt idx="35">
                  <c:v>157.94740943329921</c:v>
                </c:pt>
                <c:pt idx="36">
                  <c:v>154.46467972817632</c:v>
                </c:pt>
                <c:pt idx="37">
                  <c:v>132.14150577953379</c:v>
                </c:pt>
                <c:pt idx="38">
                  <c:v>141.48870292360553</c:v>
                </c:pt>
                <c:pt idx="39">
                  <c:v>143.62327919448731</c:v>
                </c:pt>
                <c:pt idx="40">
                  <c:v>172.57487419481535</c:v>
                </c:pt>
                <c:pt idx="41">
                  <c:v>268.03537195103866</c:v>
                </c:pt>
                <c:pt idx="42">
                  <c:v>388.43670824072268</c:v>
                </c:pt>
                <c:pt idx="43">
                  <c:v>634.75557528852733</c:v>
                </c:pt>
                <c:pt idx="44">
                  <c:v>885.59075634103965</c:v>
                </c:pt>
                <c:pt idx="45">
                  <c:v>1093.5771274085885</c:v>
                </c:pt>
                <c:pt idx="46">
                  <c:v>929.13611226702778</c:v>
                </c:pt>
                <c:pt idx="47">
                  <c:v>571.96532908874713</c:v>
                </c:pt>
                <c:pt idx="48">
                  <c:v>329.61228006000181</c:v>
                </c:pt>
                <c:pt idx="49">
                  <c:v>212.01959675832012</c:v>
                </c:pt>
                <c:pt idx="50">
                  <c:v>164.6769419925528</c:v>
                </c:pt>
                <c:pt idx="51">
                  <c:v>261.406950899353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L$2:$L$53</c:f>
              <c:numCache>
                <c:formatCode>General</c:formatCode>
                <c:ptCount val="52"/>
                <c:pt idx="0">
                  <c:v>793.97230386269518</c:v>
                </c:pt>
                <c:pt idx="1">
                  <c:v>546.97132014614488</c:v>
                </c:pt>
                <c:pt idx="2">
                  <c:v>697.4145422584952</c:v>
                </c:pt>
                <c:pt idx="3">
                  <c:v>580.24435526440425</c:v>
                </c:pt>
                <c:pt idx="4">
                  <c:v>665.60727961240582</c:v>
                </c:pt>
                <c:pt idx="5">
                  <c:v>623.6861869083433</c:v>
                </c:pt>
                <c:pt idx="6">
                  <c:v>666.24855506898018</c:v>
                </c:pt>
                <c:pt idx="7">
                  <c:v>679.91688337196558</c:v>
                </c:pt>
                <c:pt idx="8">
                  <c:v>611.53859754523421</c:v>
                </c:pt>
                <c:pt idx="9">
                  <c:v>520.78895936200786</c:v>
                </c:pt>
                <c:pt idx="10">
                  <c:v>430.46073076453047</c:v>
                </c:pt>
                <c:pt idx="11">
                  <c:v>349.55009030074535</c:v>
                </c:pt>
                <c:pt idx="12">
                  <c:v>271.71757202851734</c:v>
                </c:pt>
                <c:pt idx="13">
                  <c:v>215.57848634440558</c:v>
                </c:pt>
                <c:pt idx="14">
                  <c:v>179.04410747556787</c:v>
                </c:pt>
                <c:pt idx="15">
                  <c:v>152.36704848207353</c:v>
                </c:pt>
                <c:pt idx="16">
                  <c:v>125.61670086497065</c:v>
                </c:pt>
                <c:pt idx="17">
                  <c:v>90.914537586345446</c:v>
                </c:pt>
                <c:pt idx="18">
                  <c:v>68.506540918046284</c:v>
                </c:pt>
                <c:pt idx="19">
                  <c:v>44.834315492500465</c:v>
                </c:pt>
                <c:pt idx="20">
                  <c:v>34.409008784191201</c:v>
                </c:pt>
                <c:pt idx="21">
                  <c:v>26.273971563647599</c:v>
                </c:pt>
                <c:pt idx="22">
                  <c:v>18.358800213929491</c:v>
                </c:pt>
                <c:pt idx="23">
                  <c:v>9.7290647840285036</c:v>
                </c:pt>
                <c:pt idx="24">
                  <c:v>7.1639629577309698</c:v>
                </c:pt>
                <c:pt idx="25">
                  <c:v>4.1957737015866803</c:v>
                </c:pt>
                <c:pt idx="26">
                  <c:v>4.2873844810973063</c:v>
                </c:pt>
                <c:pt idx="27">
                  <c:v>3.9392635189569267</c:v>
                </c:pt>
                <c:pt idx="28">
                  <c:v>5.8264455768758268</c:v>
                </c:pt>
                <c:pt idx="29">
                  <c:v>7.6586611670883515</c:v>
                </c:pt>
                <c:pt idx="30">
                  <c:v>7.7319497906968531</c:v>
                </c:pt>
                <c:pt idx="31">
                  <c:v>10.406984552407136</c:v>
                </c:pt>
                <c:pt idx="32">
                  <c:v>12.40409954573879</c:v>
                </c:pt>
                <c:pt idx="33">
                  <c:v>15.042489995644823</c:v>
                </c:pt>
                <c:pt idx="34">
                  <c:v>31.330886592634162</c:v>
                </c:pt>
                <c:pt idx="35">
                  <c:v>56.249018619524492</c:v>
                </c:pt>
                <c:pt idx="36">
                  <c:v>90.236617817966817</c:v>
                </c:pt>
                <c:pt idx="37">
                  <c:v>120.21166487384372</c:v>
                </c:pt>
                <c:pt idx="38">
                  <c:v>160.53873001442136</c:v>
                </c:pt>
                <c:pt idx="39">
                  <c:v>200.55431850466289</c:v>
                </c:pt>
                <c:pt idx="40">
                  <c:v>246.34138610407391</c:v>
                </c:pt>
                <c:pt idx="41">
                  <c:v>411.69884312075419</c:v>
                </c:pt>
                <c:pt idx="42">
                  <c:v>601.88282138481418</c:v>
                </c:pt>
                <c:pt idx="43">
                  <c:v>790.71096011211694</c:v>
                </c:pt>
                <c:pt idx="44">
                  <c:v>941.70384690153105</c:v>
                </c:pt>
                <c:pt idx="45">
                  <c:v>1141.9466887558578</c:v>
                </c:pt>
                <c:pt idx="46">
                  <c:v>1176.2640867605385</c:v>
                </c:pt>
                <c:pt idx="47">
                  <c:v>1123.404666982907</c:v>
                </c:pt>
                <c:pt idx="48">
                  <c:v>824.40540481612538</c:v>
                </c:pt>
                <c:pt idx="49">
                  <c:v>568.79300782557607</c:v>
                </c:pt>
                <c:pt idx="50">
                  <c:v>366.05835276856021</c:v>
                </c:pt>
                <c:pt idx="51">
                  <c:v>363.49325094226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53</c:f>
              <c:numCache>
                <c:formatCode>General</c:formatCode>
                <c:ptCount val="52"/>
                <c:pt idx="0">
                  <c:v>337.6804839048188</c:v>
                </c:pt>
                <c:pt idx="1">
                  <c:v>493.52017617281814</c:v>
                </c:pt>
                <c:pt idx="2">
                  <c:v>515.88953020849431</c:v>
                </c:pt>
                <c:pt idx="3">
                  <c:v>425.83111932081334</c:v>
                </c:pt>
                <c:pt idx="4">
                  <c:v>274.58234189220991</c:v>
                </c:pt>
                <c:pt idx="5">
                  <c:v>159.24749053580686</c:v>
                </c:pt>
                <c:pt idx="6">
                  <c:v>106.03682272861583</c:v>
                </c:pt>
                <c:pt idx="7">
                  <c:v>82.002654660061665</c:v>
                </c:pt>
                <c:pt idx="8">
                  <c:v>70.706004109555408</c:v>
                </c:pt>
                <c:pt idx="9">
                  <c:v>68.259488056163562</c:v>
                </c:pt>
                <c:pt idx="10">
                  <c:v>71.519396752522482</c:v>
                </c:pt>
                <c:pt idx="11">
                  <c:v>89.916859440723044</c:v>
                </c:pt>
                <c:pt idx="12">
                  <c:v>91.019693102096582</c:v>
                </c:pt>
                <c:pt idx="13">
                  <c:v>126.32727193135794</c:v>
                </c:pt>
                <c:pt idx="14">
                  <c:v>124.25470522291458</c:v>
                </c:pt>
                <c:pt idx="15">
                  <c:v>122.62158181248981</c:v>
                </c:pt>
                <c:pt idx="16">
                  <c:v>112.59255616011404</c:v>
                </c:pt>
                <c:pt idx="17">
                  <c:v>88.833040152821482</c:v>
                </c:pt>
                <c:pt idx="18">
                  <c:v>73.435623056863079</c:v>
                </c:pt>
                <c:pt idx="19">
                  <c:v>68.582732405186832</c:v>
                </c:pt>
                <c:pt idx="20">
                  <c:v>65.335499957809219</c:v>
                </c:pt>
                <c:pt idx="21">
                  <c:v>60.01781351015179</c:v>
                </c:pt>
                <c:pt idx="22">
                  <c:v>51.395851494700885</c:v>
                </c:pt>
                <c:pt idx="23">
                  <c:v>50.071183476154516</c:v>
                </c:pt>
                <c:pt idx="24">
                  <c:v>62.981943063613599</c:v>
                </c:pt>
                <c:pt idx="25">
                  <c:v>166.34407725717409</c:v>
                </c:pt>
                <c:pt idx="26">
                  <c:v>284.51418296906229</c:v>
                </c:pt>
                <c:pt idx="27">
                  <c:v>372.00987885435609</c:v>
                </c:pt>
                <c:pt idx="28">
                  <c:v>391.61158519578066</c:v>
                </c:pt>
                <c:pt idx="29">
                  <c:v>331.67194188768025</c:v>
                </c:pt>
                <c:pt idx="30">
                  <c:v>250.66437277265101</c:v>
                </c:pt>
                <c:pt idx="31">
                  <c:v>190.61275593188239</c:v>
                </c:pt>
                <c:pt idx="32">
                  <c:v>144.04232988273159</c:v>
                </c:pt>
                <c:pt idx="33">
                  <c:v>108.85728812695618</c:v>
                </c:pt>
                <c:pt idx="34">
                  <c:v>71.861655475017713</c:v>
                </c:pt>
                <c:pt idx="35">
                  <c:v>48.962011690290332</c:v>
                </c:pt>
                <c:pt idx="36">
                  <c:v>37.614656143858859</c:v>
                </c:pt>
                <c:pt idx="37">
                  <c:v>30.566661710253314</c:v>
                </c:pt>
                <c:pt idx="38">
                  <c:v>25.762363346338745</c:v>
                </c:pt>
                <c:pt idx="39">
                  <c:v>22.050335102979947</c:v>
                </c:pt>
                <c:pt idx="40">
                  <c:v>22.496116525489171</c:v>
                </c:pt>
                <c:pt idx="41">
                  <c:v>25.998986660656435</c:v>
                </c:pt>
                <c:pt idx="42">
                  <c:v>28.067327952772693</c:v>
                </c:pt>
                <c:pt idx="43">
                  <c:v>33.739949371906647</c:v>
                </c:pt>
                <c:pt idx="44">
                  <c:v>53.521235907233013</c:v>
                </c:pt>
                <c:pt idx="45">
                  <c:v>85.714682903420467</c:v>
                </c:pt>
                <c:pt idx="46">
                  <c:v>124.22935272495197</c:v>
                </c:pt>
                <c:pt idx="47">
                  <c:v>186.49086230479475</c:v>
                </c:pt>
                <c:pt idx="48">
                  <c:v>237.05853219938371</c:v>
                </c:pt>
                <c:pt idx="49">
                  <c:v>463.82395022594778</c:v>
                </c:pt>
                <c:pt idx="50">
                  <c:v>949.32006079359985</c:v>
                </c:pt>
                <c:pt idx="51">
                  <c:v>1331.40755758809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H$2:$H$53</c:f>
              <c:numCache>
                <c:formatCode>General</c:formatCode>
                <c:ptCount val="52"/>
                <c:pt idx="0">
                  <c:v>613.53341249011919</c:v>
                </c:pt>
                <c:pt idx="1">
                  <c:v>475.47847694021954</c:v>
                </c:pt>
                <c:pt idx="2">
                  <c:v>369.53350905217076</c:v>
                </c:pt>
                <c:pt idx="3">
                  <c:v>249.35842142379863</c:v>
                </c:pt>
                <c:pt idx="4">
                  <c:v>209.53318698275956</c:v>
                </c:pt>
                <c:pt idx="5">
                  <c:v>115.03696385636273</c:v>
                </c:pt>
                <c:pt idx="6">
                  <c:v>113.76896247939847</c:v>
                </c:pt>
                <c:pt idx="7">
                  <c:v>89.69309855942555</c:v>
                </c:pt>
                <c:pt idx="8">
                  <c:v>61.660423853630149</c:v>
                </c:pt>
                <c:pt idx="9">
                  <c:v>58.651308187323266</c:v>
                </c:pt>
                <c:pt idx="10">
                  <c:v>56.04624857972459</c:v>
                </c:pt>
                <c:pt idx="11">
                  <c:v>53.569017616153587</c:v>
                </c:pt>
                <c:pt idx="12">
                  <c:v>38.710039719004428</c:v>
                </c:pt>
                <c:pt idx="13">
                  <c:v>20.50400836099244</c:v>
                </c:pt>
                <c:pt idx="14">
                  <c:v>21.270980225158549</c:v>
                </c:pt>
                <c:pt idx="15">
                  <c:v>25.069107177015621</c:v>
                </c:pt>
                <c:pt idx="16">
                  <c:v>22.50812641218511</c:v>
                </c:pt>
                <c:pt idx="17">
                  <c:v>21.53839187128543</c:v>
                </c:pt>
                <c:pt idx="18">
                  <c:v>23.386764678030573</c:v>
                </c:pt>
                <c:pt idx="19">
                  <c:v>17.28037565988048</c:v>
                </c:pt>
                <c:pt idx="20">
                  <c:v>31.616284622847388</c:v>
                </c:pt>
                <c:pt idx="21">
                  <c:v>48.245762704517936</c:v>
                </c:pt>
                <c:pt idx="22">
                  <c:v>83.05482483853956</c:v>
                </c:pt>
                <c:pt idx="23">
                  <c:v>83.192938545879827</c:v>
                </c:pt>
                <c:pt idx="24">
                  <c:v>150.44696754679038</c:v>
                </c:pt>
                <c:pt idx="25">
                  <c:v>291.0658224510384</c:v>
                </c:pt>
                <c:pt idx="26">
                  <c:v>280.21214206675677</c:v>
                </c:pt>
                <c:pt idx="27">
                  <c:v>459.43965535164244</c:v>
                </c:pt>
                <c:pt idx="28">
                  <c:v>387.85414540137998</c:v>
                </c:pt>
                <c:pt idx="29">
                  <c:v>268.52096366987985</c:v>
                </c:pt>
                <c:pt idx="30">
                  <c:v>313.80609743513588</c:v>
                </c:pt>
                <c:pt idx="31">
                  <c:v>254.47303647966498</c:v>
                </c:pt>
                <c:pt idx="32">
                  <c:v>331.2804200031963</c:v>
                </c:pt>
                <c:pt idx="33">
                  <c:v>350.45177801783115</c:v>
                </c:pt>
                <c:pt idx="34">
                  <c:v>362.47942491450505</c:v>
                </c:pt>
                <c:pt idx="35">
                  <c:v>364.60549443068965</c:v>
                </c:pt>
                <c:pt idx="36">
                  <c:v>298.95740460129929</c:v>
                </c:pt>
                <c:pt idx="37">
                  <c:v>344.52611225503057</c:v>
                </c:pt>
                <c:pt idx="38">
                  <c:v>347.41474575110442</c:v>
                </c:pt>
                <c:pt idx="39">
                  <c:v>430.63413160264514</c:v>
                </c:pt>
                <c:pt idx="40">
                  <c:v>375.25200425396093</c:v>
                </c:pt>
                <c:pt idx="41">
                  <c:v>476.79937292850559</c:v>
                </c:pt>
                <c:pt idx="42">
                  <c:v>459.33827401327562</c:v>
                </c:pt>
                <c:pt idx="43">
                  <c:v>316.79464297481763</c:v>
                </c:pt>
                <c:pt idx="44">
                  <c:v>380.82650856937516</c:v>
                </c:pt>
                <c:pt idx="45">
                  <c:v>417.85714437891244</c:v>
                </c:pt>
                <c:pt idx="46">
                  <c:v>442.87923412364199</c:v>
                </c:pt>
                <c:pt idx="47">
                  <c:v>466.46288429937039</c:v>
                </c:pt>
                <c:pt idx="48">
                  <c:v>521.78477056293809</c:v>
                </c:pt>
                <c:pt idx="49">
                  <c:v>796.169689615743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54363240"/>
        <c:axId val="354365200"/>
      </c:lineChart>
      <c:catAx>
        <c:axId val="3543632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5200"/>
        <c:crosses val="autoZero"/>
        <c:auto val="1"/>
        <c:lblAlgn val="ctr"/>
        <c:lblOffset val="100"/>
        <c:tickLblSkip val="1"/>
        <c:noMultiLvlLbl val="1"/>
      </c:catAx>
      <c:valAx>
        <c:axId val="3543652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32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7.4950401637673789E-2"/>
          <c:y val="1.0209435626102294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332421732562376E-2"/>
          <c:y val="8.196552666510501E-2"/>
          <c:w val="0.91393290618325784"/>
          <c:h val="0.709950417740298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% změna 50. vs. 49. týden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13-493D-97B1-A5AA545BC174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813-493D-97B1-A5AA545BC174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813-493D-97B1-A5AA545BC174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813-493D-97B1-A5AA545BC174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C9C-4C43-B6C0-8405007F8E99}"/>
              </c:ext>
            </c:extLst>
          </c:dPt>
          <c:dPt>
            <c:idx val="16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1C9C-4C43-B6C0-8405007F8E99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DA68-4805-8D52-B9B59E53E580}"/>
              </c:ext>
            </c:extLst>
          </c:dPt>
          <c:dPt>
            <c:idx val="2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DA68-4805-8D52-B9B59E53E580}"/>
              </c:ext>
            </c:extLst>
          </c:dPt>
          <c:cat>
            <c:strRef>
              <c:f>List1!$A$2:$A$31</c:f>
              <c:strCache>
                <c:ptCount val="30"/>
                <c:pt idx="0">
                  <c:v>Řecko</c:v>
                </c:pt>
                <c:pt idx="1">
                  <c:v>Kypr</c:v>
                </c:pt>
                <c:pt idx="2">
                  <c:v>Portugalsko</c:v>
                </c:pt>
                <c:pt idx="3">
                  <c:v>Francie</c:v>
                </c:pt>
                <c:pt idx="4">
                  <c:v>Švédsko</c:v>
                </c:pt>
                <c:pt idx="5">
                  <c:v>Lucembursko</c:v>
                </c:pt>
                <c:pt idx="6">
                  <c:v>Rumunsko</c:v>
                </c:pt>
                <c:pt idx="7">
                  <c:v>Irsko</c:v>
                </c:pt>
                <c:pt idx="8">
                  <c:v>Island</c:v>
                </c:pt>
                <c:pt idx="9">
                  <c:v>Belgie</c:v>
                </c:pt>
                <c:pt idx="10">
                  <c:v>Itálie</c:v>
                </c:pt>
                <c:pt idx="11">
                  <c:v>Rakousko</c:v>
                </c:pt>
                <c:pt idx="12">
                  <c:v>Dánsko</c:v>
                </c:pt>
                <c:pt idx="13">
                  <c:v>Malta</c:v>
                </c:pt>
                <c:pt idx="14">
                  <c:v>Bulharsko</c:v>
                </c:pt>
                <c:pt idx="15">
                  <c:v>Slovinsko</c:v>
                </c:pt>
                <c:pt idx="16">
                  <c:v>Španělsko</c:v>
                </c:pt>
                <c:pt idx="17">
                  <c:v>Estonsko</c:v>
                </c:pt>
                <c:pt idx="18">
                  <c:v>Litva</c:v>
                </c:pt>
                <c:pt idx="19">
                  <c:v>Lotyšsko</c:v>
                </c:pt>
                <c:pt idx="20">
                  <c:v>Nizozemsko</c:v>
                </c:pt>
                <c:pt idx="21">
                  <c:v>Lichtenštejnsko</c:v>
                </c:pt>
                <c:pt idx="22">
                  <c:v>Norsko</c:v>
                </c:pt>
                <c:pt idx="23">
                  <c:v>Německo</c:v>
                </c:pt>
                <c:pt idx="24">
                  <c:v>Maďarsko</c:v>
                </c:pt>
                <c:pt idx="25">
                  <c:v>Chorvatsko</c:v>
                </c:pt>
                <c:pt idx="26">
                  <c:v>Finsko</c:v>
                </c:pt>
                <c:pt idx="27">
                  <c:v>Slovensko</c:v>
                </c:pt>
                <c:pt idx="28">
                  <c:v>Polsko</c:v>
                </c:pt>
                <c:pt idx="29">
                  <c:v>Česká republika</c:v>
                </c:pt>
              </c:strCache>
            </c:strRef>
          </c:cat>
          <c:val>
            <c:numRef>
              <c:f>List1!$B$2:$B$31</c:f>
              <c:numCache>
                <c:formatCode>General</c:formatCode>
                <c:ptCount val="30"/>
                <c:pt idx="0">
                  <c:v>0.86225382628260328</c:v>
                </c:pt>
                <c:pt idx="1">
                  <c:v>1.0797872340425532</c:v>
                </c:pt>
                <c:pt idx="2">
                  <c:v>1.1335242721966428</c:v>
                </c:pt>
                <c:pt idx="3">
                  <c:v>1.0695663924000436</c:v>
                </c:pt>
                <c:pt idx="4">
                  <c:v>1.3156399120690581</c:v>
                </c:pt>
                <c:pt idx="5">
                  <c:v>1.043347154165096</c:v>
                </c:pt>
                <c:pt idx="6">
                  <c:v>0.73970007892659828</c:v>
                </c:pt>
                <c:pt idx="7">
                  <c:v>1.0619889042106276</c:v>
                </c:pt>
                <c:pt idx="8">
                  <c:v>1.5005549389567148</c:v>
                </c:pt>
                <c:pt idx="9">
                  <c:v>0.64264737321796273</c:v>
                </c:pt>
                <c:pt idx="10">
                  <c:v>1.4003533367527212</c:v>
                </c:pt>
                <c:pt idx="11">
                  <c:v>0.6432393742118</c:v>
                </c:pt>
                <c:pt idx="12">
                  <c:v>1.7991074659269086</c:v>
                </c:pt>
                <c:pt idx="13">
                  <c:v>2.3418530351437701</c:v>
                </c:pt>
                <c:pt idx="14">
                  <c:v>0.87002221842420102</c:v>
                </c:pt>
                <c:pt idx="15">
                  <c:v>0.87225978283138705</c:v>
                </c:pt>
                <c:pt idx="16">
                  <c:v>1.9565798620394632</c:v>
                </c:pt>
                <c:pt idx="17">
                  <c:v>1.183963691376702</c:v>
                </c:pt>
                <c:pt idx="18">
                  <c:v>0.958212519188129</c:v>
                </c:pt>
                <c:pt idx="19">
                  <c:v>1.1256771397616467</c:v>
                </c:pt>
                <c:pt idx="20">
                  <c:v>0.77577289519735559</c:v>
                </c:pt>
                <c:pt idx="21">
                  <c:v>0.58695652173913049</c:v>
                </c:pt>
                <c:pt idx="22">
                  <c:v>0.91048885504232446</c:v>
                </c:pt>
                <c:pt idx="23">
                  <c:v>0.8093012932437631</c:v>
                </c:pt>
                <c:pt idx="24">
                  <c:v>0.71211718353435982</c:v>
                </c:pt>
                <c:pt idx="25">
                  <c:v>0.92070773263433814</c:v>
                </c:pt>
                <c:pt idx="26">
                  <c:v>1.2485496183206106</c:v>
                </c:pt>
                <c:pt idx="27">
                  <c:v>0.68994332703633732</c:v>
                </c:pt>
                <c:pt idx="28">
                  <c:v>0.83140041433522427</c:v>
                </c:pt>
                <c:pt idx="29">
                  <c:v>0.750395031383048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1C9C-4C43-B6C0-8405007F8E99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% změna 52. vs. 51. týden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invertIfNegative val="0"/>
          <c:cat>
            <c:strRef>
              <c:f>List1!$A$2:$A$31</c:f>
              <c:strCache>
                <c:ptCount val="30"/>
                <c:pt idx="0">
                  <c:v>Řecko</c:v>
                </c:pt>
                <c:pt idx="1">
                  <c:v>Kypr</c:v>
                </c:pt>
                <c:pt idx="2">
                  <c:v>Portugalsko</c:v>
                </c:pt>
                <c:pt idx="3">
                  <c:v>Francie</c:v>
                </c:pt>
                <c:pt idx="4">
                  <c:v>Švédsko</c:v>
                </c:pt>
                <c:pt idx="5">
                  <c:v>Lucembursko</c:v>
                </c:pt>
                <c:pt idx="6">
                  <c:v>Rumunsko</c:v>
                </c:pt>
                <c:pt idx="7">
                  <c:v>Irsko</c:v>
                </c:pt>
                <c:pt idx="8">
                  <c:v>Island</c:v>
                </c:pt>
                <c:pt idx="9">
                  <c:v>Belgie</c:v>
                </c:pt>
                <c:pt idx="10">
                  <c:v>Itálie</c:v>
                </c:pt>
                <c:pt idx="11">
                  <c:v>Rakousko</c:v>
                </c:pt>
                <c:pt idx="12">
                  <c:v>Dánsko</c:v>
                </c:pt>
                <c:pt idx="13">
                  <c:v>Malta</c:v>
                </c:pt>
                <c:pt idx="14">
                  <c:v>Bulharsko</c:v>
                </c:pt>
                <c:pt idx="15">
                  <c:v>Slovinsko</c:v>
                </c:pt>
                <c:pt idx="16">
                  <c:v>Španělsko</c:v>
                </c:pt>
                <c:pt idx="17">
                  <c:v>Estonsko</c:v>
                </c:pt>
                <c:pt idx="18">
                  <c:v>Litva</c:v>
                </c:pt>
                <c:pt idx="19">
                  <c:v>Lotyšsko</c:v>
                </c:pt>
                <c:pt idx="20">
                  <c:v>Nizozemsko</c:v>
                </c:pt>
                <c:pt idx="21">
                  <c:v>Lichtenštejnsko</c:v>
                </c:pt>
                <c:pt idx="22">
                  <c:v>Norsko</c:v>
                </c:pt>
                <c:pt idx="23">
                  <c:v>Německo</c:v>
                </c:pt>
                <c:pt idx="24">
                  <c:v>Maďarsko</c:v>
                </c:pt>
                <c:pt idx="25">
                  <c:v>Chorvatsko</c:v>
                </c:pt>
                <c:pt idx="26">
                  <c:v>Finsko</c:v>
                </c:pt>
                <c:pt idx="27">
                  <c:v>Slovensko</c:v>
                </c:pt>
                <c:pt idx="28">
                  <c:v>Polsko</c:v>
                </c:pt>
                <c:pt idx="29">
                  <c:v>Česká republika</c:v>
                </c:pt>
              </c:strCache>
            </c:strRef>
          </c:cat>
          <c:val>
            <c:numRef>
              <c:f>List1!$C$2:$C$31</c:f>
              <c:numCache>
                <c:formatCode>General</c:formatCode>
                <c:ptCount val="30"/>
                <c:pt idx="0">
                  <c:v>4.282066777458831</c:v>
                </c:pt>
                <c:pt idx="1">
                  <c:v>3.5007816571130799</c:v>
                </c:pt>
                <c:pt idx="2">
                  <c:v>2.5473313883645101</c:v>
                </c:pt>
                <c:pt idx="3">
                  <c:v>2.163696009380617</c:v>
                </c:pt>
                <c:pt idx="4">
                  <c:v>2.1203023604079014</c:v>
                </c:pt>
                <c:pt idx="5">
                  <c:v>2.1195039458850058</c:v>
                </c:pt>
                <c:pt idx="6">
                  <c:v>2.1136980108499097</c:v>
                </c:pt>
                <c:pt idx="7">
                  <c:v>2.0663373713402686</c:v>
                </c:pt>
                <c:pt idx="8">
                  <c:v>2.0647785477553482</c:v>
                </c:pt>
                <c:pt idx="9">
                  <c:v>1.7244457241577886</c:v>
                </c:pt>
                <c:pt idx="10">
                  <c:v>1.7130741365781299</c:v>
                </c:pt>
                <c:pt idx="11">
                  <c:v>1.5873925501432664</c:v>
                </c:pt>
                <c:pt idx="12">
                  <c:v>1.58610724464771</c:v>
                </c:pt>
                <c:pt idx="13">
                  <c:v>1.5262206148282098</c:v>
                </c:pt>
                <c:pt idx="14">
                  <c:v>1.4983761131482451</c:v>
                </c:pt>
                <c:pt idx="15">
                  <c:v>1.4213919221155111</c:v>
                </c:pt>
                <c:pt idx="16">
                  <c:v>1.4024854341275388</c:v>
                </c:pt>
                <c:pt idx="17">
                  <c:v>1.3362350380848749</c:v>
                </c:pt>
                <c:pt idx="18">
                  <c:v>1.308570818657274</c:v>
                </c:pt>
                <c:pt idx="19">
                  <c:v>1.3024231127679404</c:v>
                </c:pt>
                <c:pt idx="20">
                  <c:v>1.1845344975296037</c:v>
                </c:pt>
                <c:pt idx="21">
                  <c:v>1.1048689138576779</c:v>
                </c:pt>
                <c:pt idx="22">
                  <c:v>1.1022128556375133</c:v>
                </c:pt>
                <c:pt idx="23">
                  <c:v>1.0466331927704633</c:v>
                </c:pt>
                <c:pt idx="24">
                  <c:v>1.0024824162184527</c:v>
                </c:pt>
                <c:pt idx="25">
                  <c:v>1</c:v>
                </c:pt>
                <c:pt idx="26">
                  <c:v>1</c:v>
                </c:pt>
                <c:pt idx="27">
                  <c:v>0.9929926422743881</c:v>
                </c:pt>
                <c:pt idx="28">
                  <c:v>0.91379449978596139</c:v>
                </c:pt>
                <c:pt idx="29">
                  <c:v>0.882674547469523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1C9C-4C43-B6C0-8405007F8E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4367552"/>
        <c:axId val="354365592"/>
      </c:barChart>
      <c:catAx>
        <c:axId val="3543675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5592"/>
        <c:crosses val="autoZero"/>
        <c:auto val="1"/>
        <c:lblAlgn val="ctr"/>
        <c:lblOffset val="100"/>
        <c:noMultiLvlLbl val="0"/>
      </c:catAx>
      <c:valAx>
        <c:axId val="354365592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75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8487393863624522E-2"/>
          <c:y val="4.725794487389709E-2"/>
          <c:w val="0.90731728915976451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testy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132-4A67-A35E-085191B53D6A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2A8A-46CC-A262-51EDB77F67BD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132-4A67-A35E-085191B53D6A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C132-4A67-A35E-085191B53D6A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2A8A-46CC-A262-51EDB77F67BD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2A8A-46CC-A262-51EDB77F67BD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C132-4A67-A35E-085191B53D6A}"/>
              </c:ext>
            </c:extLst>
          </c:dPt>
          <c:dPt>
            <c:idx val="2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C132-4A67-A35E-085191B53D6A}"/>
              </c:ext>
            </c:extLst>
          </c:dPt>
          <c:dPt>
            <c:idx val="2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C132-4A67-A35E-085191B53D6A}"/>
              </c:ext>
            </c:extLst>
          </c:dPt>
          <c:dPt>
            <c:idx val="2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C132-4A67-A35E-085191B53D6A}"/>
              </c:ext>
            </c:extLst>
          </c:dPt>
          <c:dPt>
            <c:idx val="2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2A79-4038-AF5E-B780796E0BB4}"/>
              </c:ext>
            </c:extLst>
          </c:dPt>
          <c:cat>
            <c:strRef>
              <c:f>List1!$A$2:$A$31</c:f>
              <c:strCache>
                <c:ptCount val="30"/>
                <c:pt idx="0">
                  <c:v>Rakousko</c:v>
                </c:pt>
                <c:pt idx="1">
                  <c:v>Kypr</c:v>
                </c:pt>
                <c:pt idx="2">
                  <c:v>Dánsko</c:v>
                </c:pt>
                <c:pt idx="3">
                  <c:v>Řecko</c:v>
                </c:pt>
                <c:pt idx="4">
                  <c:v>Slovinsko</c:v>
                </c:pt>
                <c:pt idx="5">
                  <c:v>Lucembursko</c:v>
                </c:pt>
                <c:pt idx="6">
                  <c:v>Česká republika</c:v>
                </c:pt>
                <c:pt idx="7">
                  <c:v>Island</c:v>
                </c:pt>
                <c:pt idx="8">
                  <c:v>Malta</c:v>
                </c:pt>
                <c:pt idx="9">
                  <c:v>Lotyšsko</c:v>
                </c:pt>
                <c:pt idx="10">
                  <c:v>Francie</c:v>
                </c:pt>
                <c:pt idx="11">
                  <c:v>Portugalsko</c:v>
                </c:pt>
                <c:pt idx="12">
                  <c:v>Norsko</c:v>
                </c:pt>
                <c:pt idx="13">
                  <c:v>Litva</c:v>
                </c:pt>
                <c:pt idx="14">
                  <c:v>Belgie</c:v>
                </c:pt>
                <c:pt idx="15">
                  <c:v>Itálie</c:v>
                </c:pt>
                <c:pt idx="16">
                  <c:v>Slovensko</c:v>
                </c:pt>
                <c:pt idx="17">
                  <c:v>Nizozemsko</c:v>
                </c:pt>
                <c:pt idx="18">
                  <c:v>Lichtenštejnsko</c:v>
                </c:pt>
                <c:pt idx="19">
                  <c:v>Irsko</c:v>
                </c:pt>
                <c:pt idx="20">
                  <c:v>Estonsko</c:v>
                </c:pt>
                <c:pt idx="21">
                  <c:v>Finsko</c:v>
                </c:pt>
                <c:pt idx="22">
                  <c:v>Chorvatsko</c:v>
                </c:pt>
                <c:pt idx="23">
                  <c:v>Švédsko</c:v>
                </c:pt>
                <c:pt idx="24">
                  <c:v>Španělsko</c:v>
                </c:pt>
                <c:pt idx="25">
                  <c:v>Německo</c:v>
                </c:pt>
                <c:pt idx="26">
                  <c:v>Bulharsko</c:v>
                </c:pt>
                <c:pt idx="27">
                  <c:v>Maďarsko</c:v>
                </c:pt>
                <c:pt idx="28">
                  <c:v>Rumunsko</c:v>
                </c:pt>
                <c:pt idx="29">
                  <c:v>Polsko</c:v>
                </c:pt>
              </c:strCache>
            </c:strRef>
          </c:cat>
          <c:val>
            <c:numRef>
              <c:f>List1!$B$2:$B$31</c:f>
              <c:numCache>
                <c:formatCode>General</c:formatCode>
                <c:ptCount val="30"/>
                <c:pt idx="0" formatCode="0">
                  <c:v>1998144.7161822452</c:v>
                </c:pt>
                <c:pt idx="1">
                  <c:v>1989438.4603690295</c:v>
                </c:pt>
                <c:pt idx="2">
                  <c:v>1814999.5285743212</c:v>
                </c:pt>
                <c:pt idx="3">
                  <c:v>1009393.2816566398</c:v>
                </c:pt>
                <c:pt idx="4">
                  <c:v>611701.01452338684</c:v>
                </c:pt>
                <c:pt idx="5">
                  <c:v>610889.01595251937</c:v>
                </c:pt>
                <c:pt idx="6" formatCode="0">
                  <c:v>435343.39404778724</c:v>
                </c:pt>
                <c:pt idx="7">
                  <c:v>377471.48027923785</c:v>
                </c:pt>
                <c:pt idx="8">
                  <c:v>301470.3710325635</c:v>
                </c:pt>
                <c:pt idx="9">
                  <c:v>291397.69614845299</c:v>
                </c:pt>
                <c:pt idx="10">
                  <c:v>270480.76316332677</c:v>
                </c:pt>
                <c:pt idx="11">
                  <c:v>258951.69625139461</c:v>
                </c:pt>
                <c:pt idx="12">
                  <c:v>243317.75213410886</c:v>
                </c:pt>
                <c:pt idx="13">
                  <c:v>239827.24250113635</c:v>
                </c:pt>
                <c:pt idx="14">
                  <c:v>238092.34849563113</c:v>
                </c:pt>
                <c:pt idx="15">
                  <c:v>236803.42951872695</c:v>
                </c:pt>
                <c:pt idx="16">
                  <c:v>228841.89500195405</c:v>
                </c:pt>
                <c:pt idx="17">
                  <c:v>216980.00038488966</c:v>
                </c:pt>
                <c:pt idx="18" formatCode="0">
                  <c:v>211616.38320386093</c:v>
                </c:pt>
                <c:pt idx="19" formatCode="0">
                  <c:v>203242.60138102184</c:v>
                </c:pt>
                <c:pt idx="20">
                  <c:v>182992.99611129169</c:v>
                </c:pt>
                <c:pt idx="21" formatCode="0">
                  <c:v>158084.40531287758</c:v>
                </c:pt>
                <c:pt idx="22">
                  <c:v>154727.51847201877</c:v>
                </c:pt>
                <c:pt idx="23">
                  <c:v>150134.29562311203</c:v>
                </c:pt>
                <c:pt idx="24">
                  <c:v>148982.15636262979</c:v>
                </c:pt>
                <c:pt idx="25">
                  <c:v>112673.78001758418</c:v>
                </c:pt>
                <c:pt idx="26">
                  <c:v>105684.94603021341</c:v>
                </c:pt>
                <c:pt idx="27">
                  <c:v>91003.923834175788</c:v>
                </c:pt>
                <c:pt idx="28">
                  <c:v>86378.622450040712</c:v>
                </c:pt>
                <c:pt idx="29">
                  <c:v>73518.6272835616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4365984"/>
        <c:axId val="354367944"/>
      </c:barChart>
      <c:catAx>
        <c:axId val="3543659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7944"/>
        <c:crosses val="autoZero"/>
        <c:auto val="1"/>
        <c:lblAlgn val="ctr"/>
        <c:lblOffset val="100"/>
        <c:noMultiLvlLbl val="0"/>
      </c:catAx>
      <c:valAx>
        <c:axId val="354367944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5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5179585351877881E-2"/>
          <c:y val="4.725786302175191E-2"/>
          <c:w val="0.90731728915976451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testy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1C8-4C38-A27C-C7ACF4A14BBE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031-4F32-8B10-320319D083D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A43-4423-804C-AD52486F23B0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1C8-4C38-A27C-C7ACF4A14BBE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4031-4F32-8B10-320319D083D6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4031-4F32-8B10-320319D083D6}"/>
              </c:ext>
            </c:extLst>
          </c:dPt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4031-4F32-8B10-320319D083D6}"/>
              </c:ext>
            </c:extLst>
          </c:dPt>
          <c:dPt>
            <c:idx val="2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4031-4F32-8B10-320319D083D6}"/>
              </c:ext>
            </c:extLst>
          </c:dPt>
          <c:cat>
            <c:strRef>
              <c:f>List1!$A$2:$A$30</c:f>
              <c:strCache>
                <c:ptCount val="29"/>
                <c:pt idx="0">
                  <c:v>Španělsko</c:v>
                </c:pt>
                <c:pt idx="1">
                  <c:v>Lichtenštejnsko</c:v>
                </c:pt>
                <c:pt idx="2">
                  <c:v>Irsko</c:v>
                </c:pt>
                <c:pt idx="3">
                  <c:v>Maďarsko</c:v>
                </c:pt>
                <c:pt idx="4">
                  <c:v>Lucembursko</c:v>
                </c:pt>
                <c:pt idx="5">
                  <c:v>Nizozemsko</c:v>
                </c:pt>
                <c:pt idx="6">
                  <c:v>Německo</c:v>
                </c:pt>
                <c:pt idx="7">
                  <c:v>Polsko</c:v>
                </c:pt>
                <c:pt idx="8">
                  <c:v>Finsko</c:v>
                </c:pt>
                <c:pt idx="9">
                  <c:v>Estonsko</c:v>
                </c:pt>
                <c:pt idx="10">
                  <c:v>Belgie</c:v>
                </c:pt>
                <c:pt idx="11">
                  <c:v>Island</c:v>
                </c:pt>
                <c:pt idx="12">
                  <c:v>Chorvatsko</c:v>
                </c:pt>
                <c:pt idx="13">
                  <c:v>Malta</c:v>
                </c:pt>
                <c:pt idx="14">
                  <c:v>Francie</c:v>
                </c:pt>
                <c:pt idx="15">
                  <c:v>Litva</c:v>
                </c:pt>
                <c:pt idx="16">
                  <c:v>Norsko</c:v>
                </c:pt>
                <c:pt idx="17">
                  <c:v>Lotyšsko</c:v>
                </c:pt>
                <c:pt idx="18">
                  <c:v>Česká republika</c:v>
                </c:pt>
                <c:pt idx="19">
                  <c:v>Slovensko</c:v>
                </c:pt>
                <c:pt idx="20">
                  <c:v>Portugalsko</c:v>
                </c:pt>
                <c:pt idx="21">
                  <c:v>Itálie</c:v>
                </c:pt>
                <c:pt idx="22">
                  <c:v>Bulharsko</c:v>
                </c:pt>
                <c:pt idx="23">
                  <c:v>Dánsko</c:v>
                </c:pt>
                <c:pt idx="24">
                  <c:v>Řecko</c:v>
                </c:pt>
                <c:pt idx="25">
                  <c:v>Rumunsko</c:v>
                </c:pt>
                <c:pt idx="26">
                  <c:v>Kypr</c:v>
                </c:pt>
                <c:pt idx="27">
                  <c:v>Slovinsko</c:v>
                </c:pt>
                <c:pt idx="28">
                  <c:v>Rakousko</c:v>
                </c:pt>
              </c:strCache>
            </c:strRef>
          </c:cat>
          <c:val>
            <c:numRef>
              <c:f>List1!$B$2:$B$30</c:f>
              <c:numCache>
                <c:formatCode>0.0%</c:formatCode>
                <c:ptCount val="29"/>
                <c:pt idx="0">
                  <c:v>0.23157955253855661</c:v>
                </c:pt>
                <c:pt idx="1">
                  <c:v>0.22716248989490703</c:v>
                </c:pt>
                <c:pt idx="2">
                  <c:v>0.2212107156436692</c:v>
                </c:pt>
                <c:pt idx="3">
                  <c:v>0.17911615587546459</c:v>
                </c:pt>
                <c:pt idx="4">
                  <c:v>0.17265693248471234</c:v>
                </c:pt>
                <c:pt idx="5">
                  <c:v>0.16149173940541764</c:v>
                </c:pt>
                <c:pt idx="6">
                  <c:v>0.158804</c:v>
                </c:pt>
                <c:pt idx="7">
                  <c:v>0.15253959076250892</c:v>
                </c:pt>
                <c:pt idx="8">
                  <c:v>0.14939414178036448</c:v>
                </c:pt>
                <c:pt idx="9">
                  <c:v>0.1347551560950504</c:v>
                </c:pt>
                <c:pt idx="10">
                  <c:v>0.13409498476515444</c:v>
                </c:pt>
                <c:pt idx="11">
                  <c:v>0.13174800538804268</c:v>
                </c:pt>
                <c:pt idx="12">
                  <c:v>0.12649952621388916</c:v>
                </c:pt>
                <c:pt idx="13">
                  <c:v>0.12615767451661131</c:v>
                </c:pt>
                <c:pt idx="14">
                  <c:v>0.12582102736654344</c:v>
                </c:pt>
                <c:pt idx="15">
                  <c:v>0.11095436450937744</c:v>
                </c:pt>
                <c:pt idx="16">
                  <c:v>0.10656719208358002</c:v>
                </c:pt>
                <c:pt idx="17">
                  <c:v>0.105408</c:v>
                </c:pt>
                <c:pt idx="18">
                  <c:v>9.0442630107554864E-2</c:v>
                </c:pt>
                <c:pt idx="19">
                  <c:v>8.7582924211230179E-2</c:v>
                </c:pt>
                <c:pt idx="20">
                  <c:v>7.0597384553434478E-2</c:v>
                </c:pt>
                <c:pt idx="21">
                  <c:v>6.7737416424087038E-2</c:v>
                </c:pt>
                <c:pt idx="22">
                  <c:v>6.7356795842277703E-2</c:v>
                </c:pt>
                <c:pt idx="23">
                  <c:v>3.6619804499654046E-2</c:v>
                </c:pt>
                <c:pt idx="24">
                  <c:v>3.3302720496453213E-2</c:v>
                </c:pt>
                <c:pt idx="25">
                  <c:v>3.0310364934593423E-2</c:v>
                </c:pt>
                <c:pt idx="26">
                  <c:v>2.7695652452750325E-2</c:v>
                </c:pt>
                <c:pt idx="27">
                  <c:v>1.6529571362753365E-2</c:v>
                </c:pt>
                <c:pt idx="28">
                  <c:v>3.944632035600080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4366768"/>
        <c:axId val="354367160"/>
      </c:barChart>
      <c:catAx>
        <c:axId val="3543667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7160"/>
        <c:crosses val="autoZero"/>
        <c:auto val="1"/>
        <c:lblAlgn val="ctr"/>
        <c:lblOffset val="100"/>
        <c:noMultiLvlLbl val="0"/>
      </c:catAx>
      <c:valAx>
        <c:axId val="354367160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43667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8487393863624522E-2"/>
          <c:y val="4.725794487389709E-2"/>
          <c:w val="0.90731728915976451"/>
          <c:h val="0.74465799953150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51. týden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457-4C08-8B8D-49B5CD97021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790-4FF7-B806-ED2F71D73D6B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790-4FF7-B806-ED2F71D73D6B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B55-4A16-9A6E-E29737EBB7F9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DFEF-4C58-AB71-BCAF2B9C9422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5B55-4A16-9A6E-E29737EBB7F9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DFEF-4C58-AB71-BCAF2B9C9422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DFEF-4C58-AB71-BCAF2B9C9422}"/>
              </c:ext>
            </c:extLst>
          </c:dPt>
          <c:cat>
            <c:strRef>
              <c:f>List1!$A$2:$A$30</c:f>
              <c:strCache>
                <c:ptCount val="29"/>
                <c:pt idx="0">
                  <c:v>Irsko</c:v>
                </c:pt>
                <c:pt idx="1">
                  <c:v>Španělsko</c:v>
                </c:pt>
                <c:pt idx="2">
                  <c:v>Lichtenštejnsko</c:v>
                </c:pt>
                <c:pt idx="3">
                  <c:v>Lucembursko</c:v>
                </c:pt>
                <c:pt idx="4">
                  <c:v>Maďarsko</c:v>
                </c:pt>
                <c:pt idx="5">
                  <c:v>Nizozemsko</c:v>
                </c:pt>
                <c:pt idx="6">
                  <c:v>Belgie</c:v>
                </c:pt>
                <c:pt idx="7">
                  <c:v>Francie</c:v>
                </c:pt>
                <c:pt idx="8">
                  <c:v>Estonsko</c:v>
                </c:pt>
                <c:pt idx="9">
                  <c:v>Finsko</c:v>
                </c:pt>
                <c:pt idx="10">
                  <c:v>Německo</c:v>
                </c:pt>
                <c:pt idx="11">
                  <c:v>Malta</c:v>
                </c:pt>
                <c:pt idx="12">
                  <c:v>Island</c:v>
                </c:pt>
                <c:pt idx="13">
                  <c:v>Polsko</c:v>
                </c:pt>
                <c:pt idx="14">
                  <c:v>Norsko</c:v>
                </c:pt>
                <c:pt idx="15">
                  <c:v>Litva</c:v>
                </c:pt>
                <c:pt idx="16">
                  <c:v>Chorvatsko</c:v>
                </c:pt>
                <c:pt idx="17">
                  <c:v>Lotyšsko</c:v>
                </c:pt>
                <c:pt idx="18">
                  <c:v>Česká republika</c:v>
                </c:pt>
                <c:pt idx="19">
                  <c:v>Portugalsko</c:v>
                </c:pt>
                <c:pt idx="20">
                  <c:v>Slovensko</c:v>
                </c:pt>
                <c:pt idx="21">
                  <c:v>Bulharsko</c:v>
                </c:pt>
                <c:pt idx="22">
                  <c:v>Itálie</c:v>
                </c:pt>
                <c:pt idx="23">
                  <c:v>Řecko</c:v>
                </c:pt>
                <c:pt idx="24">
                  <c:v>Dánsko</c:v>
                </c:pt>
                <c:pt idx="25">
                  <c:v>Rumunsko</c:v>
                </c:pt>
                <c:pt idx="26">
                  <c:v>Kypr</c:v>
                </c:pt>
                <c:pt idx="27">
                  <c:v>Slovinsko</c:v>
                </c:pt>
                <c:pt idx="28">
                  <c:v>Rakousko</c:v>
                </c:pt>
              </c:strCache>
            </c:strRef>
          </c:cat>
          <c:val>
            <c:numRef>
              <c:f>List1!$B$2:$B$30</c:f>
              <c:numCache>
                <c:formatCode>0.0%</c:formatCode>
                <c:ptCount val="29"/>
                <c:pt idx="0">
                  <c:v>0.15381121953082888</c:v>
                </c:pt>
                <c:pt idx="1">
                  <c:v>0.19632952082258301</c:v>
                </c:pt>
                <c:pt idx="2">
                  <c:v>0.20444104134762633</c:v>
                </c:pt>
                <c:pt idx="3">
                  <c:v>0.10614280015955325</c:v>
                </c:pt>
                <c:pt idx="4">
                  <c:v>0.16831643768839721</c:v>
                </c:pt>
                <c:pt idx="5">
                  <c:v>0.13901686951414494</c:v>
                </c:pt>
                <c:pt idx="6">
                  <c:v>0.10078891676861121</c:v>
                </c:pt>
                <c:pt idx="7">
                  <c:v>8.2697082517818002E-2</c:v>
                </c:pt>
                <c:pt idx="8">
                  <c:v>0.11048860248148504</c:v>
                </c:pt>
                <c:pt idx="9">
                  <c:v>0.1415408164495173</c:v>
                </c:pt>
                <c:pt idx="10">
                  <c:v>0.16165166666666667</c:v>
                </c:pt>
                <c:pt idx="11">
                  <c:v>0.10277749096541043</c:v>
                </c:pt>
                <c:pt idx="12">
                  <c:v>0.10795953550401717</c:v>
                </c:pt>
                <c:pt idx="13">
                  <c:v>0.16609146146957882</c:v>
                </c:pt>
                <c:pt idx="14">
                  <c:v>8.5718479377660362E-2</c:v>
                </c:pt>
                <c:pt idx="15">
                  <c:v>9.4944213054449278E-2</c:v>
                </c:pt>
                <c:pt idx="16">
                  <c:v>0.13135821513438101</c:v>
                </c:pt>
                <c:pt idx="17">
                  <c:v>9.0703522897778902E-2</c:v>
                </c:pt>
                <c:pt idx="18">
                  <c:v>8.3244495469268931E-2</c:v>
                </c:pt>
                <c:pt idx="19">
                  <c:v>4.5117974948567674E-2</c:v>
                </c:pt>
                <c:pt idx="20">
                  <c:v>8.6498538802900746E-2</c:v>
                </c:pt>
                <c:pt idx="21">
                  <c:v>5.1539433471203794E-2</c:v>
                </c:pt>
                <c:pt idx="22">
                  <c:v>5.5970627418193294E-2</c:v>
                </c:pt>
                <c:pt idx="23">
                  <c:v>1.1860106393598979E-2</c:v>
                </c:pt>
                <c:pt idx="24">
                  <c:v>2.7174196922959432E-2</c:v>
                </c:pt>
                <c:pt idx="25">
                  <c:v>2.016325674881158E-2</c:v>
                </c:pt>
                <c:pt idx="26">
                  <c:v>1.4879583154564675E-2</c:v>
                </c:pt>
                <c:pt idx="27">
                  <c:v>1.4262714663143989E-2</c:v>
                </c:pt>
                <c:pt idx="28">
                  <c:v>3.0725958949464833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FE4-42A6-AFC2-61C406B74281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52. týde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List1!$A$2:$A$30</c:f>
              <c:strCache>
                <c:ptCount val="29"/>
                <c:pt idx="0">
                  <c:v>Irsko</c:v>
                </c:pt>
                <c:pt idx="1">
                  <c:v>Španělsko</c:v>
                </c:pt>
                <c:pt idx="2">
                  <c:v>Lichtenštejnsko</c:v>
                </c:pt>
                <c:pt idx="3">
                  <c:v>Lucembursko</c:v>
                </c:pt>
                <c:pt idx="4">
                  <c:v>Maďarsko</c:v>
                </c:pt>
                <c:pt idx="5">
                  <c:v>Nizozemsko</c:v>
                </c:pt>
                <c:pt idx="6">
                  <c:v>Belgie</c:v>
                </c:pt>
                <c:pt idx="7">
                  <c:v>Francie</c:v>
                </c:pt>
                <c:pt idx="8">
                  <c:v>Estonsko</c:v>
                </c:pt>
                <c:pt idx="9">
                  <c:v>Finsko</c:v>
                </c:pt>
                <c:pt idx="10">
                  <c:v>Německo</c:v>
                </c:pt>
                <c:pt idx="11">
                  <c:v>Malta</c:v>
                </c:pt>
                <c:pt idx="12">
                  <c:v>Island</c:v>
                </c:pt>
                <c:pt idx="13">
                  <c:v>Polsko</c:v>
                </c:pt>
                <c:pt idx="14">
                  <c:v>Norsko</c:v>
                </c:pt>
                <c:pt idx="15">
                  <c:v>Litva</c:v>
                </c:pt>
                <c:pt idx="16">
                  <c:v>Chorvatsko</c:v>
                </c:pt>
                <c:pt idx="17">
                  <c:v>Lotyšsko</c:v>
                </c:pt>
                <c:pt idx="18">
                  <c:v>Česká republika</c:v>
                </c:pt>
                <c:pt idx="19">
                  <c:v>Portugalsko</c:v>
                </c:pt>
                <c:pt idx="20">
                  <c:v>Slovensko</c:v>
                </c:pt>
                <c:pt idx="21">
                  <c:v>Bulharsko</c:v>
                </c:pt>
                <c:pt idx="22">
                  <c:v>Itálie</c:v>
                </c:pt>
                <c:pt idx="23">
                  <c:v>Řecko</c:v>
                </c:pt>
                <c:pt idx="24">
                  <c:v>Dánsko</c:v>
                </c:pt>
                <c:pt idx="25">
                  <c:v>Rumunsko</c:v>
                </c:pt>
                <c:pt idx="26">
                  <c:v>Kypr</c:v>
                </c:pt>
                <c:pt idx="27">
                  <c:v>Slovinsko</c:v>
                </c:pt>
                <c:pt idx="28">
                  <c:v>Rakousko</c:v>
                </c:pt>
              </c:strCache>
            </c:strRef>
          </c:cat>
          <c:val>
            <c:numRef>
              <c:f>List1!$C$2:$C$30</c:f>
              <c:numCache>
                <c:formatCode>0.0%</c:formatCode>
                <c:ptCount val="29"/>
                <c:pt idx="0">
                  <c:v>0.28074713936503654</c:v>
                </c:pt>
                <c:pt idx="1">
                  <c:v>0.26557876819561604</c:v>
                </c:pt>
                <c:pt idx="2">
                  <c:v>0.25256849315068491</c:v>
                </c:pt>
                <c:pt idx="3">
                  <c:v>0.24513212795549374</c:v>
                </c:pt>
                <c:pt idx="4">
                  <c:v>0.19136429280620995</c:v>
                </c:pt>
                <c:pt idx="5">
                  <c:v>0.18701651469980601</c:v>
                </c:pt>
                <c:pt idx="6">
                  <c:v>0.16588295703197409</c:v>
                </c:pt>
                <c:pt idx="7">
                  <c:v>0.16577392346636244</c:v>
                </c:pt>
                <c:pt idx="8">
                  <c:v>0.16126066973079448</c:v>
                </c:pt>
                <c:pt idx="9">
                  <c:v>0.15817013711176359</c:v>
                </c:pt>
                <c:pt idx="10">
                  <c:v>0.1561753846153846</c:v>
                </c:pt>
                <c:pt idx="11">
                  <c:v>0.14825513310953237</c:v>
                </c:pt>
                <c:pt idx="12">
                  <c:v>0.14748735607446464</c:v>
                </c:pt>
                <c:pt idx="13">
                  <c:v>0.14003577931714339</c:v>
                </c:pt>
                <c:pt idx="14">
                  <c:v>0.13674170829089205</c:v>
                </c:pt>
                <c:pt idx="15">
                  <c:v>0.12736736029587459</c:v>
                </c:pt>
                <c:pt idx="16">
                  <c:v>0.12198744417291649</c:v>
                </c:pt>
                <c:pt idx="17">
                  <c:v>0.12039370248325472</c:v>
                </c:pt>
                <c:pt idx="18">
                  <c:v>0.10026492252344998</c:v>
                </c:pt>
                <c:pt idx="19">
                  <c:v>9.0706485538465303E-2</c:v>
                </c:pt>
                <c:pt idx="20">
                  <c:v>8.8702790433565687E-2</c:v>
                </c:pt>
                <c:pt idx="21">
                  <c:v>8.4706411911728119E-2</c:v>
                </c:pt>
                <c:pt idx="22">
                  <c:v>7.7213151527904936E-2</c:v>
                </c:pt>
                <c:pt idx="23">
                  <c:v>5.7638802339124204E-2</c:v>
                </c:pt>
                <c:pt idx="24">
                  <c:v>4.6897335645902538E-2</c:v>
                </c:pt>
                <c:pt idx="25">
                  <c:v>3.9782009393506228E-2</c:v>
                </c:pt>
                <c:pt idx="26">
                  <c:v>3.6733399434253883E-2</c:v>
                </c:pt>
                <c:pt idx="27">
                  <c:v>1.8610547929395673E-2</c:v>
                </c:pt>
                <c:pt idx="28">
                  <c:v>4.80344242578384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7DCA-49BB-91DA-A5CFB36956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99904824"/>
        <c:axId val="359794704"/>
      </c:barChart>
      <c:catAx>
        <c:axId val="2999048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4704"/>
        <c:crosses val="autoZero"/>
        <c:auto val="1"/>
        <c:lblAlgn val="ctr"/>
        <c:lblOffset val="100"/>
        <c:noMultiLvlLbl val="0"/>
      </c:catAx>
      <c:valAx>
        <c:axId val="359794704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99048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2">
                  <a:lumMod val="2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2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9535243648902862"/>
          <c:h val="0.67139752351557902"/>
        </c:manualLayout>
      </c:layout>
      <c:lineChart>
        <c:grouping val="standard"/>
        <c:varyColors val="0"/>
        <c:ser>
          <c:idx val="9"/>
          <c:order val="0"/>
          <c:tx>
            <c:strRef>
              <c:f>List1!$H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H$2:$H$53</c:f>
              <c:numCache>
                <c:formatCode>0.0%</c:formatCode>
                <c:ptCount val="52"/>
                <c:pt idx="0">
                  <c:v>4.4326315755395918E-2</c:v>
                </c:pt>
                <c:pt idx="1">
                  <c:v>4.2625715420527281E-2</c:v>
                </c:pt>
                <c:pt idx="2">
                  <c:v>4.6923574921959629E-2</c:v>
                </c:pt>
                <c:pt idx="3">
                  <c:v>4.6219720790547751E-2</c:v>
                </c:pt>
                <c:pt idx="4">
                  <c:v>4.2752807698491074E-2</c:v>
                </c:pt>
                <c:pt idx="5">
                  <c:v>4.1822746606304625E-2</c:v>
                </c:pt>
                <c:pt idx="6">
                  <c:v>5.7707985047992939E-2</c:v>
                </c:pt>
                <c:pt idx="7">
                  <c:v>5.7738194328838574E-2</c:v>
                </c:pt>
                <c:pt idx="8">
                  <c:v>5.3107614925344188E-2</c:v>
                </c:pt>
                <c:pt idx="9">
                  <c:v>6.2498529792289058E-2</c:v>
                </c:pt>
                <c:pt idx="10">
                  <c:v>7.0436538909529306E-2</c:v>
                </c:pt>
                <c:pt idx="11">
                  <c:v>7.0603676175879954E-2</c:v>
                </c:pt>
                <c:pt idx="12">
                  <c:v>7.1954870737517551E-2</c:v>
                </c:pt>
                <c:pt idx="13">
                  <c:v>8.4862111783812602E-2</c:v>
                </c:pt>
                <c:pt idx="14">
                  <c:v>8.618543430442685E-2</c:v>
                </c:pt>
                <c:pt idx="15">
                  <c:v>7.8438992430057516E-2</c:v>
                </c:pt>
                <c:pt idx="16">
                  <c:v>6.2564911509619694E-2</c:v>
                </c:pt>
                <c:pt idx="17">
                  <c:v>5.6562153649506113E-2</c:v>
                </c:pt>
                <c:pt idx="18">
                  <c:v>4.9653587504745376E-2</c:v>
                </c:pt>
                <c:pt idx="19">
                  <c:v>4.766912317304349E-2</c:v>
                </c:pt>
                <c:pt idx="20">
                  <c:v>3.949348206757896E-2</c:v>
                </c:pt>
                <c:pt idx="21">
                  <c:v>2.9035595429896574E-2</c:v>
                </c:pt>
                <c:pt idx="22">
                  <c:v>1.8878418820287214E-2</c:v>
                </c:pt>
                <c:pt idx="23">
                  <c:v>1.0980501026454021E-2</c:v>
                </c:pt>
                <c:pt idx="24">
                  <c:v>8.1971106542081448E-3</c:v>
                </c:pt>
                <c:pt idx="25">
                  <c:v>8.9867693557789119E-3</c:v>
                </c:pt>
                <c:pt idx="26">
                  <c:v>1.7590892914005282E-2</c:v>
                </c:pt>
                <c:pt idx="27">
                  <c:v>1.8972151244295528E-2</c:v>
                </c:pt>
                <c:pt idx="28">
                  <c:v>2.4622415215268364E-2</c:v>
                </c:pt>
                <c:pt idx="29">
                  <c:v>2.9400039085401602E-2</c:v>
                </c:pt>
                <c:pt idx="30">
                  <c:v>3.4785030105162061E-2</c:v>
                </c:pt>
                <c:pt idx="31">
                  <c:v>3.7961907307212252E-2</c:v>
                </c:pt>
                <c:pt idx="32">
                  <c:v>4.5126053436085833E-2</c:v>
                </c:pt>
                <c:pt idx="33">
                  <c:v>4.9234933224511432E-2</c:v>
                </c:pt>
                <c:pt idx="34">
                  <c:v>4.8767781581577324E-2</c:v>
                </c:pt>
                <c:pt idx="35">
                  <c:v>4.6002373668990189E-2</c:v>
                </c:pt>
                <c:pt idx="36">
                  <c:v>4.3773039436560086E-2</c:v>
                </c:pt>
                <c:pt idx="37">
                  <c:v>4.1042621530910532E-2</c:v>
                </c:pt>
                <c:pt idx="38">
                  <c:v>4.2871446830841944E-2</c:v>
                </c:pt>
                <c:pt idx="39">
                  <c:v>4.7695759737644554E-2</c:v>
                </c:pt>
                <c:pt idx="40">
                  <c:v>6.4971478569155944E-2</c:v>
                </c:pt>
                <c:pt idx="41">
                  <c:v>8.513971427111891E-2</c:v>
                </c:pt>
                <c:pt idx="42">
                  <c:v>9.2231106864128914E-2</c:v>
                </c:pt>
                <c:pt idx="43">
                  <c:v>0.11053915290717456</c:v>
                </c:pt>
                <c:pt idx="44">
                  <c:v>0.13001104449909845</c:v>
                </c:pt>
                <c:pt idx="45">
                  <c:v>0.14918011582909665</c:v>
                </c:pt>
                <c:pt idx="46">
                  <c:v>0.15018060024955671</c:v>
                </c:pt>
                <c:pt idx="47">
                  <c:v>0.15328191533145796</c:v>
                </c:pt>
                <c:pt idx="48">
                  <c:v>0.14208313349320545</c:v>
                </c:pt>
                <c:pt idx="49">
                  <c:v>0.11158259972570303</c:v>
                </c:pt>
                <c:pt idx="50">
                  <c:v>0.10078891676861121</c:v>
                </c:pt>
                <c:pt idx="51">
                  <c:v>0.165882957031974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C$2:$C$53</c:f>
              <c:numCache>
                <c:formatCode>0.0%</c:formatCode>
                <c:ptCount val="52"/>
                <c:pt idx="0">
                  <c:v>0.20396358309011833</c:v>
                </c:pt>
                <c:pt idx="1">
                  <c:v>0.15138221926853321</c:v>
                </c:pt>
                <c:pt idx="2">
                  <c:v>0.14594314744787204</c:v>
                </c:pt>
                <c:pt idx="3">
                  <c:v>0.13103606441416049</c:v>
                </c:pt>
                <c:pt idx="4">
                  <c:v>0.12612276956539251</c:v>
                </c:pt>
                <c:pt idx="5">
                  <c:v>0.12906250301283226</c:v>
                </c:pt>
                <c:pt idx="6">
                  <c:v>0.13562364428488774</c:v>
                </c:pt>
                <c:pt idx="7">
                  <c:v>0.13959963927828739</c:v>
                </c:pt>
                <c:pt idx="8">
                  <c:v>0.11585974815458099</c:v>
                </c:pt>
                <c:pt idx="9">
                  <c:v>6.5066606465047402E-2</c:v>
                </c:pt>
                <c:pt idx="10">
                  <c:v>5.1140610741383229E-2</c:v>
                </c:pt>
                <c:pt idx="11">
                  <c:v>3.825015841614763E-2</c:v>
                </c:pt>
                <c:pt idx="12">
                  <c:v>3.0674323590565364E-2</c:v>
                </c:pt>
                <c:pt idx="13">
                  <c:v>2.0982253556482793E-2</c:v>
                </c:pt>
                <c:pt idx="14">
                  <c:v>1.6007137725867645E-2</c:v>
                </c:pt>
                <c:pt idx="15">
                  <c:v>1.2938795542638524E-2</c:v>
                </c:pt>
                <c:pt idx="16">
                  <c:v>1.0509074728042187E-2</c:v>
                </c:pt>
                <c:pt idx="17">
                  <c:v>7.5093400009265667E-3</c:v>
                </c:pt>
                <c:pt idx="18">
                  <c:v>5.2856713769329298E-3</c:v>
                </c:pt>
                <c:pt idx="19">
                  <c:v>3.1353802813026926E-3</c:v>
                </c:pt>
                <c:pt idx="20">
                  <c:v>2.2746126847945545E-3</c:v>
                </c:pt>
                <c:pt idx="21">
                  <c:v>1.8219550605014199E-3</c:v>
                </c:pt>
                <c:pt idx="22">
                  <c:v>1.2780531319018899E-3</c:v>
                </c:pt>
                <c:pt idx="23">
                  <c:v>8.7522055092340424E-4</c:v>
                </c:pt>
                <c:pt idx="24">
                  <c:v>7.4582227172969771E-4</c:v>
                </c:pt>
                <c:pt idx="25">
                  <c:v>1.1505733615087912E-3</c:v>
                </c:pt>
                <c:pt idx="26">
                  <c:v>2.5317255698706067E-3</c:v>
                </c:pt>
                <c:pt idx="27">
                  <c:v>2.2194270819700136E-3</c:v>
                </c:pt>
                <c:pt idx="28">
                  <c:v>1.8700489036474952E-3</c:v>
                </c:pt>
                <c:pt idx="29">
                  <c:v>1.5757519581035362E-3</c:v>
                </c:pt>
                <c:pt idx="30">
                  <c:v>1.6411587865537032E-3</c:v>
                </c:pt>
                <c:pt idx="31">
                  <c:v>1.7232953176181366E-3</c:v>
                </c:pt>
                <c:pt idx="32">
                  <c:v>1.9334696506103117E-3</c:v>
                </c:pt>
                <c:pt idx="33">
                  <c:v>2.339778359177249E-3</c:v>
                </c:pt>
                <c:pt idx="34">
                  <c:v>3.126908687499666E-3</c:v>
                </c:pt>
                <c:pt idx="35">
                  <c:v>4.9506360086636128E-3</c:v>
                </c:pt>
                <c:pt idx="36">
                  <c:v>6.06798755953805E-3</c:v>
                </c:pt>
                <c:pt idx="37">
                  <c:v>6.3673294430535128E-3</c:v>
                </c:pt>
                <c:pt idx="38">
                  <c:v>9.842846773417754E-3</c:v>
                </c:pt>
                <c:pt idx="39">
                  <c:v>1.338414163709185E-2</c:v>
                </c:pt>
                <c:pt idx="40">
                  <c:v>1.9520841022562734E-2</c:v>
                </c:pt>
                <c:pt idx="41">
                  <c:v>3.6602315552670836E-2</c:v>
                </c:pt>
                <c:pt idx="42">
                  <c:v>4.8986188238644451E-2</c:v>
                </c:pt>
                <c:pt idx="43">
                  <c:v>8.8389351070540412E-2</c:v>
                </c:pt>
                <c:pt idx="44">
                  <c:v>0.10895808749246559</c:v>
                </c:pt>
                <c:pt idx="45">
                  <c:v>0.13496482412060301</c:v>
                </c:pt>
                <c:pt idx="46">
                  <c:v>0.16104752137779565</c:v>
                </c:pt>
                <c:pt idx="47">
                  <c:v>0.14523335792383379</c:v>
                </c:pt>
                <c:pt idx="48">
                  <c:v>0.13005814169218868</c:v>
                </c:pt>
                <c:pt idx="49">
                  <c:v>0.10577709856597282</c:v>
                </c:pt>
                <c:pt idx="50">
                  <c:v>8.3244495469268931E-2</c:v>
                </c:pt>
                <c:pt idx="51">
                  <c:v>0.10026492252344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D$2:$D$53</c:f>
              <c:numCache>
                <c:formatCode>0.0%</c:formatCode>
                <c:ptCount val="52"/>
                <c:pt idx="0">
                  <c:v>6.2888281994283896E-2</c:v>
                </c:pt>
                <c:pt idx="1">
                  <c:v>6.4129305237496048E-2</c:v>
                </c:pt>
                <c:pt idx="2">
                  <c:v>6.8371791746904664E-2</c:v>
                </c:pt>
                <c:pt idx="3">
                  <c:v>6.4332837018621872E-2</c:v>
                </c:pt>
                <c:pt idx="4">
                  <c:v>6.1373632517658462E-2</c:v>
                </c:pt>
                <c:pt idx="5">
                  <c:v>5.4581165248025781E-2</c:v>
                </c:pt>
                <c:pt idx="6">
                  <c:v>5.8391836782161713E-2</c:v>
                </c:pt>
                <c:pt idx="7">
                  <c:v>6.5676362313978415E-2</c:v>
                </c:pt>
                <c:pt idx="8">
                  <c:v>6.4786407281609365E-2</c:v>
                </c:pt>
                <c:pt idx="9">
                  <c:v>6.6706471148282445E-2</c:v>
                </c:pt>
                <c:pt idx="10">
                  <c:v>7.3099290863917532E-2</c:v>
                </c:pt>
                <c:pt idx="11">
                  <c:v>7.5498554565808673E-2</c:v>
                </c:pt>
                <c:pt idx="12">
                  <c:v>7.0390653691178279E-2</c:v>
                </c:pt>
                <c:pt idx="13">
                  <c:v>8.1076502230597661E-2</c:v>
                </c:pt>
                <c:pt idx="14">
                  <c:v>9.0645902760655692E-2</c:v>
                </c:pt>
                <c:pt idx="15">
                  <c:v>9.2221719048102266E-2</c:v>
                </c:pt>
                <c:pt idx="16">
                  <c:v>6.9694748600796053E-2</c:v>
                </c:pt>
                <c:pt idx="17">
                  <c:v>4.9530392356169954E-2</c:v>
                </c:pt>
                <c:pt idx="18">
                  <c:v>4.1112470048167739E-2</c:v>
                </c:pt>
                <c:pt idx="19">
                  <c:v>3.6055606027539093E-2</c:v>
                </c:pt>
                <c:pt idx="20">
                  <c:v>3.141489552060759E-2</c:v>
                </c:pt>
                <c:pt idx="21">
                  <c:v>2.3885798611162114E-2</c:v>
                </c:pt>
                <c:pt idx="22">
                  <c:v>1.5403502673782666E-2</c:v>
                </c:pt>
                <c:pt idx="23">
                  <c:v>9.7169335959357596E-3</c:v>
                </c:pt>
                <c:pt idx="24">
                  <c:v>7.7068662825661022E-3</c:v>
                </c:pt>
                <c:pt idx="25">
                  <c:v>8.7743639303792011E-3</c:v>
                </c:pt>
                <c:pt idx="26">
                  <c:v>1.2407202619028043E-2</c:v>
                </c:pt>
                <c:pt idx="27">
                  <c:v>2.3378893884813186E-2</c:v>
                </c:pt>
                <c:pt idx="28">
                  <c:v>4.2076159564349735E-2</c:v>
                </c:pt>
                <c:pt idx="29">
                  <c:v>4.2618263732455378E-2</c:v>
                </c:pt>
                <c:pt idx="30">
                  <c:v>4.3305743173333432E-2</c:v>
                </c:pt>
                <c:pt idx="31">
                  <c:v>3.5691828298066018E-2</c:v>
                </c:pt>
                <c:pt idx="32">
                  <c:v>3.1057260114972538E-2</c:v>
                </c:pt>
                <c:pt idx="33">
                  <c:v>2.8494347519878557E-2</c:v>
                </c:pt>
                <c:pt idx="34">
                  <c:v>2.4630632269883723E-2</c:v>
                </c:pt>
                <c:pt idx="35">
                  <c:v>1.9954781460228933E-2</c:v>
                </c:pt>
                <c:pt idx="36">
                  <c:v>1.4879269519677944E-2</c:v>
                </c:pt>
                <c:pt idx="37">
                  <c:v>1.2461365680182484E-2</c:v>
                </c:pt>
                <c:pt idx="38">
                  <c:v>1.0940178320000707E-2</c:v>
                </c:pt>
                <c:pt idx="39">
                  <c:v>1.0219963646944673E-2</c:v>
                </c:pt>
                <c:pt idx="40">
                  <c:v>1.1529827699139957E-2</c:v>
                </c:pt>
                <c:pt idx="41">
                  <c:v>1.7536007395283458E-2</c:v>
                </c:pt>
                <c:pt idx="42">
                  <c:v>2.1321999384926842E-2</c:v>
                </c:pt>
                <c:pt idx="43">
                  <c:v>2.9361010393789341E-2</c:v>
                </c:pt>
                <c:pt idx="44">
                  <c:v>3.610796744224707E-2</c:v>
                </c:pt>
                <c:pt idx="45">
                  <c:v>4.7830374559951212E-2</c:v>
                </c:pt>
                <c:pt idx="46">
                  <c:v>5.6620310421184351E-2</c:v>
                </c:pt>
                <c:pt idx="47">
                  <c:v>6.4567926298003023E-2</c:v>
                </c:pt>
                <c:pt idx="48">
                  <c:v>6.6628787641547255E-2</c:v>
                </c:pt>
                <c:pt idx="49">
                  <c:v>6.7871080643381418E-2</c:v>
                </c:pt>
                <c:pt idx="50">
                  <c:v>8.2697082517818002E-2</c:v>
                </c:pt>
                <c:pt idx="51">
                  <c:v>0.165773923466362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F$2:$F$53</c:f>
              <c:numCache>
                <c:formatCode>0.0%</c:formatCode>
                <c:ptCount val="52"/>
                <c:pt idx="0">
                  <c:v>0.12648868423833867</c:v>
                </c:pt>
                <c:pt idx="1">
                  <c:v>7.1476523588933014E-2</c:v>
                </c:pt>
                <c:pt idx="2">
                  <c:v>5.6275692659542645E-2</c:v>
                </c:pt>
                <c:pt idx="3">
                  <c:v>4.7721145893872594E-2</c:v>
                </c:pt>
                <c:pt idx="4">
                  <c:v>4.9142099056603772E-2</c:v>
                </c:pt>
                <c:pt idx="5">
                  <c:v>4.6140470857294745E-2</c:v>
                </c:pt>
                <c:pt idx="6">
                  <c:v>4.7514809364152186E-2</c:v>
                </c:pt>
                <c:pt idx="7">
                  <c:v>5.860320509482398E-2</c:v>
                </c:pt>
                <c:pt idx="8">
                  <c:v>6.4546928041166393E-2</c:v>
                </c:pt>
                <c:pt idx="9">
                  <c:v>6.8420874920355951E-2</c:v>
                </c:pt>
                <c:pt idx="10">
                  <c:v>6.5870552950499622E-2</c:v>
                </c:pt>
                <c:pt idx="11">
                  <c:v>6.5635060093807179E-2</c:v>
                </c:pt>
                <c:pt idx="12">
                  <c:v>6.2396582413670347E-2</c:v>
                </c:pt>
                <c:pt idx="13">
                  <c:v>5.4312999137923132E-2</c:v>
                </c:pt>
                <c:pt idx="14">
                  <c:v>4.796531439346767E-2</c:v>
                </c:pt>
                <c:pt idx="15">
                  <c:v>4.4938084922372959E-2</c:v>
                </c:pt>
                <c:pt idx="16">
                  <c:v>3.9200848346925221E-2</c:v>
                </c:pt>
                <c:pt idx="17">
                  <c:v>3.214663721787632E-2</c:v>
                </c:pt>
                <c:pt idx="18">
                  <c:v>2.4576286674608434E-2</c:v>
                </c:pt>
                <c:pt idx="19">
                  <c:v>1.8377008598161996E-2</c:v>
                </c:pt>
                <c:pt idx="20">
                  <c:v>1.4682419085245403E-2</c:v>
                </c:pt>
                <c:pt idx="21">
                  <c:v>1.3088569015857785E-2</c:v>
                </c:pt>
                <c:pt idx="22">
                  <c:v>9.0520839369361041E-3</c:v>
                </c:pt>
                <c:pt idx="23">
                  <c:v>5.6383815353101838E-3</c:v>
                </c:pt>
                <c:pt idx="24">
                  <c:v>4.3279472424546626E-3</c:v>
                </c:pt>
                <c:pt idx="25">
                  <c:v>4.6559486381619053E-3</c:v>
                </c:pt>
                <c:pt idx="26">
                  <c:v>7.5382410200457821E-3</c:v>
                </c:pt>
                <c:pt idx="27">
                  <c:v>1.469099659238699E-2</c:v>
                </c:pt>
                <c:pt idx="28">
                  <c:v>2.1770530529582433E-2</c:v>
                </c:pt>
                <c:pt idx="29">
                  <c:v>2.5863056839675741E-2</c:v>
                </c:pt>
                <c:pt idx="30">
                  <c:v>2.9061183309317899E-2</c:v>
                </c:pt>
                <c:pt idx="31">
                  <c:v>3.0120810055865921E-2</c:v>
                </c:pt>
                <c:pt idx="32">
                  <c:v>3.2445589243093792E-2</c:v>
                </c:pt>
                <c:pt idx="33">
                  <c:v>2.8509346347069711E-2</c:v>
                </c:pt>
                <c:pt idx="34">
                  <c:v>2.1018230768826279E-2</c:v>
                </c:pt>
                <c:pt idx="35">
                  <c:v>1.7071794720640302E-2</c:v>
                </c:pt>
                <c:pt idx="36">
                  <c:v>1.4681789475932218E-2</c:v>
                </c:pt>
                <c:pt idx="37">
                  <c:v>1.1948773783564383E-2</c:v>
                </c:pt>
                <c:pt idx="38">
                  <c:v>1.0427472947358169E-2</c:v>
                </c:pt>
                <c:pt idx="39">
                  <c:v>9.3451262146384533E-3</c:v>
                </c:pt>
                <c:pt idx="40">
                  <c:v>7.462658503147813E-3</c:v>
                </c:pt>
                <c:pt idx="41">
                  <c:v>7.6407606291032278E-3</c:v>
                </c:pt>
                <c:pt idx="42">
                  <c:v>1.0040997618073047E-2</c:v>
                </c:pt>
                <c:pt idx="43">
                  <c:v>1.2616101628483858E-2</c:v>
                </c:pt>
                <c:pt idx="44">
                  <c:v>1.5574048123476632E-2</c:v>
                </c:pt>
                <c:pt idx="45">
                  <c:v>1.8687847922492139E-2</c:v>
                </c:pt>
                <c:pt idx="46">
                  <c:v>2.2462065529846927E-2</c:v>
                </c:pt>
                <c:pt idx="47">
                  <c:v>2.6099965144370817E-2</c:v>
                </c:pt>
                <c:pt idx="48">
                  <c:v>3.358368415166945E-2</c:v>
                </c:pt>
                <c:pt idx="49">
                  <c:v>3.9304257694657806E-2</c:v>
                </c:pt>
                <c:pt idx="50">
                  <c:v>5.5970627418193294E-2</c:v>
                </c:pt>
                <c:pt idx="51">
                  <c:v>7.7213151527904936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J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J$2:$J$53</c:f>
              <c:numCache>
                <c:formatCode>0.0%</c:formatCode>
                <c:ptCount val="52"/>
                <c:pt idx="0">
                  <c:v>0.1128292281429094</c:v>
                </c:pt>
                <c:pt idx="1">
                  <c:v>8.1488353659635027E-2</c:v>
                </c:pt>
                <c:pt idx="2">
                  <c:v>7.8289467006364258E-2</c:v>
                </c:pt>
                <c:pt idx="3">
                  <c:v>7.6042488396411603E-2</c:v>
                </c:pt>
                <c:pt idx="4">
                  <c:v>8.5644246974107552E-2</c:v>
                </c:pt>
                <c:pt idx="5">
                  <c:v>9.8985603543743084E-2</c:v>
                </c:pt>
                <c:pt idx="6">
                  <c:v>0.12751089037908436</c:v>
                </c:pt>
                <c:pt idx="7">
                  <c:v>0.1699868352418093</c:v>
                </c:pt>
                <c:pt idx="8">
                  <c:v>0.18455097168726572</c:v>
                </c:pt>
                <c:pt idx="9">
                  <c:v>0.24132456437960523</c:v>
                </c:pt>
                <c:pt idx="10">
                  <c:v>0.26763241500308216</c:v>
                </c:pt>
                <c:pt idx="11">
                  <c:v>0.24924785070763855</c:v>
                </c:pt>
                <c:pt idx="12">
                  <c:v>0.22757017633934823</c:v>
                </c:pt>
                <c:pt idx="13">
                  <c:v>0.18740771709965759</c:v>
                </c:pt>
                <c:pt idx="14">
                  <c:v>0.15275652516066979</c:v>
                </c:pt>
                <c:pt idx="15">
                  <c:v>0.1194147807060514</c:v>
                </c:pt>
                <c:pt idx="16">
                  <c:v>9.5968362741694471E-2</c:v>
                </c:pt>
                <c:pt idx="17">
                  <c:v>7.5881230972380143E-2</c:v>
                </c:pt>
                <c:pt idx="18">
                  <c:v>5.6216265251508142E-2</c:v>
                </c:pt>
                <c:pt idx="19">
                  <c:v>3.9730845372983443E-2</c:v>
                </c:pt>
                <c:pt idx="20">
                  <c:v>2.7109588532841931E-2</c:v>
                </c:pt>
                <c:pt idx="21">
                  <c:v>1.6855397856941033E-2</c:v>
                </c:pt>
                <c:pt idx="22">
                  <c:v>1.2866063738156762E-2</c:v>
                </c:pt>
                <c:pt idx="23">
                  <c:v>8.6900977450310463E-3</c:v>
                </c:pt>
                <c:pt idx="24">
                  <c:v>7.0968408722913148E-3</c:v>
                </c:pt>
                <c:pt idx="25">
                  <c:v>4.6165145315286956E-3</c:v>
                </c:pt>
                <c:pt idx="26">
                  <c:v>5.932112645893565E-3</c:v>
                </c:pt>
                <c:pt idx="27">
                  <c:v>7.0108074292987033E-3</c:v>
                </c:pt>
                <c:pt idx="28">
                  <c:v>8.5268660553603562E-3</c:v>
                </c:pt>
                <c:pt idx="29">
                  <c:v>8.2225220016701999E-3</c:v>
                </c:pt>
                <c:pt idx="30">
                  <c:v>7.7855040313979775E-3</c:v>
                </c:pt>
                <c:pt idx="31">
                  <c:v>9.8493626882966388E-3</c:v>
                </c:pt>
                <c:pt idx="32">
                  <c:v>1.1483342639121534E-2</c:v>
                </c:pt>
                <c:pt idx="33">
                  <c:v>1.714011189114634E-2</c:v>
                </c:pt>
                <c:pt idx="34">
                  <c:v>2.0650760445524961E-2</c:v>
                </c:pt>
                <c:pt idx="35">
                  <c:v>2.344409250449437E-2</c:v>
                </c:pt>
                <c:pt idx="36">
                  <c:v>2.7386688359093091E-2</c:v>
                </c:pt>
                <c:pt idx="37">
                  <c:v>3.28770989135036E-2</c:v>
                </c:pt>
                <c:pt idx="38">
                  <c:v>4.4005792797945746E-2</c:v>
                </c:pt>
                <c:pt idx="39">
                  <c:v>5.0057914636011974E-2</c:v>
                </c:pt>
                <c:pt idx="40">
                  <c:v>6.8871645587227151E-2</c:v>
                </c:pt>
                <c:pt idx="41">
                  <c:v>0.11984589665911424</c:v>
                </c:pt>
                <c:pt idx="42">
                  <c:v>0.16136845697309521</c:v>
                </c:pt>
                <c:pt idx="43">
                  <c:v>0.20132975089940344</c:v>
                </c:pt>
                <c:pt idx="44">
                  <c:v>0.22405975279264989</c:v>
                </c:pt>
                <c:pt idx="45">
                  <c:v>0.23216177902514462</c:v>
                </c:pt>
                <c:pt idx="46">
                  <c:v>0.24564115866839603</c:v>
                </c:pt>
                <c:pt idx="47">
                  <c:v>0.25009864202808008</c:v>
                </c:pt>
                <c:pt idx="48">
                  <c:v>0.22101900279405715</c:v>
                </c:pt>
                <c:pt idx="49">
                  <c:v>0.18354848356468215</c:v>
                </c:pt>
                <c:pt idx="50">
                  <c:v>0.16831643768839721</c:v>
                </c:pt>
                <c:pt idx="51">
                  <c:v>0.191364292806209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E$2:$E$53</c:f>
              <c:numCache>
                <c:formatCode>0.0%</c:formatCode>
                <c:ptCount val="52"/>
                <c:pt idx="0">
                  <c:v>0.11773925729464446</c:v>
                </c:pt>
                <c:pt idx="1">
                  <c:v>9.9754630880593179E-2</c:v>
                </c:pt>
                <c:pt idx="2">
                  <c:v>8.5447001442113285E-2</c:v>
                </c:pt>
                <c:pt idx="3">
                  <c:v>6.7575913802887078E-2</c:v>
                </c:pt>
                <c:pt idx="4">
                  <c:v>5.8394794475688891E-2</c:v>
                </c:pt>
                <c:pt idx="5">
                  <c:v>4.7751087516402044E-2</c:v>
                </c:pt>
                <c:pt idx="6">
                  <c:v>4.7328794596879983E-2</c:v>
                </c:pt>
                <c:pt idx="7">
                  <c:v>4.7949215924235795E-2</c:v>
                </c:pt>
                <c:pt idx="8">
                  <c:v>5.0455515589706616E-2</c:v>
                </c:pt>
                <c:pt idx="9">
                  <c:v>5.55608357613624E-2</c:v>
                </c:pt>
                <c:pt idx="10">
                  <c:v>6.7382739287115426E-2</c:v>
                </c:pt>
                <c:pt idx="11">
                  <c:v>8.1747651184146314E-2</c:v>
                </c:pt>
                <c:pt idx="12">
                  <c:v>9.284994455196724E-2</c:v>
                </c:pt>
                <c:pt idx="13">
                  <c:v>0.10044476981442305</c:v>
                </c:pt>
                <c:pt idx="14">
                  <c:v>0.10757188737927896</c:v>
                </c:pt>
                <c:pt idx="15">
                  <c:v>0.10080968417093565</c:v>
                </c:pt>
                <c:pt idx="16">
                  <c:v>9.1127180631667498E-2</c:v>
                </c:pt>
                <c:pt idx="17">
                  <c:v>7.9920501370092878E-2</c:v>
                </c:pt>
                <c:pt idx="18">
                  <c:v>6.3972044705338044E-2</c:v>
                </c:pt>
                <c:pt idx="19">
                  <c:v>4.2990992814162125E-2</c:v>
                </c:pt>
                <c:pt idx="20">
                  <c:v>3.1272205913902534E-2</c:v>
                </c:pt>
                <c:pt idx="21">
                  <c:v>2.3289755368040298E-2</c:v>
                </c:pt>
                <c:pt idx="22">
                  <c:v>1.6715334378140972E-2</c:v>
                </c:pt>
                <c:pt idx="23">
                  <c:v>9.8995619698971672E-3</c:v>
                </c:pt>
                <c:pt idx="24">
                  <c:v>6.7210005524300665E-3</c:v>
                </c:pt>
                <c:pt idx="25">
                  <c:v>5.963635368639952E-3</c:v>
                </c:pt>
                <c:pt idx="26">
                  <c:v>9.0456696797265052E-3</c:v>
                </c:pt>
                <c:pt idx="27">
                  <c:v>1.4870617457451241E-2</c:v>
                </c:pt>
                <c:pt idx="28">
                  <c:v>2.1094452222552653E-2</c:v>
                </c:pt>
                <c:pt idx="29">
                  <c:v>2.6390331092007831E-2</c:v>
                </c:pt>
                <c:pt idx="30">
                  <c:v>3.4362953860656152E-2</c:v>
                </c:pt>
                <c:pt idx="31">
                  <c:v>5.6183476849856133E-2</c:v>
                </c:pt>
                <c:pt idx="32">
                  <c:v>7.1528543526986801E-2</c:v>
                </c:pt>
                <c:pt idx="33">
                  <c:v>7.674565213619354E-2</c:v>
                </c:pt>
                <c:pt idx="34">
                  <c:v>7.8646135569693715E-2</c:v>
                </c:pt>
                <c:pt idx="35">
                  <c:v>7.0677117335316175E-2</c:v>
                </c:pt>
                <c:pt idx="36">
                  <c:v>6.2370784019389627E-2</c:v>
                </c:pt>
                <c:pt idx="37">
                  <c:v>5.5469953775038522E-2</c:v>
                </c:pt>
                <c:pt idx="38">
                  <c:v>5.8308911455461312E-2</c:v>
                </c:pt>
                <c:pt idx="39">
                  <c:v>6.025041725817213E-2</c:v>
                </c:pt>
                <c:pt idx="40">
                  <c:v>7.5749001563174032E-2</c:v>
                </c:pt>
                <c:pt idx="41">
                  <c:v>0.10735480297515429</c:v>
                </c:pt>
                <c:pt idx="42">
                  <c:v>0.11747841176430242</c:v>
                </c:pt>
                <c:pt idx="43">
                  <c:v>0.1489695546821754</c:v>
                </c:pt>
                <c:pt idx="44">
                  <c:v>0.16599714495063603</c:v>
                </c:pt>
                <c:pt idx="45">
                  <c:v>0.18830079777994163</c:v>
                </c:pt>
                <c:pt idx="46">
                  <c:v>0.20674988479894532</c:v>
                </c:pt>
                <c:pt idx="47">
                  <c:v>0.19923243262104914</c:v>
                </c:pt>
                <c:pt idx="48">
                  <c:v>0.19545780833438897</c:v>
                </c:pt>
                <c:pt idx="49">
                  <c:v>0.17814238049515155</c:v>
                </c:pt>
                <c:pt idx="50">
                  <c:v>0.16165166666666667</c:v>
                </c:pt>
                <c:pt idx="51">
                  <c:v>0.15617538461538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G$2:$G$53</c:f>
              <c:numCache>
                <c:formatCode>0.0%</c:formatCode>
                <c:ptCount val="52"/>
                <c:pt idx="0">
                  <c:v>0.12405274234831307</c:v>
                </c:pt>
                <c:pt idx="1">
                  <c:v>0.11436125217570835</c:v>
                </c:pt>
                <c:pt idx="2">
                  <c:v>0.11182651505409924</c:v>
                </c:pt>
                <c:pt idx="3">
                  <c:v>0.11070413193577595</c:v>
                </c:pt>
                <c:pt idx="4">
                  <c:v>0.10706337763289869</c:v>
                </c:pt>
                <c:pt idx="5">
                  <c:v>0.10152897284941019</c:v>
                </c:pt>
                <c:pt idx="6">
                  <c:v>8.9167612413415254E-2</c:v>
                </c:pt>
                <c:pt idx="7">
                  <c:v>8.5957529144294484E-2</c:v>
                </c:pt>
                <c:pt idx="8">
                  <c:v>7.1932678125904592E-2</c:v>
                </c:pt>
                <c:pt idx="9">
                  <c:v>7.0669671910575549E-2</c:v>
                </c:pt>
                <c:pt idx="10">
                  <c:v>7.3583489245770475E-2</c:v>
                </c:pt>
                <c:pt idx="11">
                  <c:v>7.8178549184326554E-2</c:v>
                </c:pt>
                <c:pt idx="12">
                  <c:v>8.5476090676085179E-2</c:v>
                </c:pt>
                <c:pt idx="13">
                  <c:v>8.9983129207258344E-2</c:v>
                </c:pt>
                <c:pt idx="14">
                  <c:v>8.9949577898847957E-2</c:v>
                </c:pt>
                <c:pt idx="15">
                  <c:v>9.4594393978632257E-2</c:v>
                </c:pt>
                <c:pt idx="16">
                  <c:v>9.7684478692411494E-2</c:v>
                </c:pt>
                <c:pt idx="17">
                  <c:v>0.12621282144429502</c:v>
                </c:pt>
                <c:pt idx="18">
                  <c:v>0.11591501144637208</c:v>
                </c:pt>
                <c:pt idx="19">
                  <c:v>8.0884047284374497E-2</c:v>
                </c:pt>
                <c:pt idx="20">
                  <c:v>7.4100570570886509E-2</c:v>
                </c:pt>
                <c:pt idx="21">
                  <c:v>5.5107904194522134E-2</c:v>
                </c:pt>
                <c:pt idx="22">
                  <c:v>3.7197504885014276E-2</c:v>
                </c:pt>
                <c:pt idx="23">
                  <c:v>2.8432807502574944E-2</c:v>
                </c:pt>
                <c:pt idx="24">
                  <c:v>1.2349340893145403E-2</c:v>
                </c:pt>
                <c:pt idx="25">
                  <c:v>1.0635689664005151E-2</c:v>
                </c:pt>
                <c:pt idx="26">
                  <c:v>6.0356642363704832E-2</c:v>
                </c:pt>
                <c:pt idx="27">
                  <c:v>9.4404181916604046E-2</c:v>
                </c:pt>
                <c:pt idx="28">
                  <c:v>4.8719931885687545E-2</c:v>
                </c:pt>
                <c:pt idx="29">
                  <c:v>3.3204757225260444E-2</c:v>
                </c:pt>
                <c:pt idx="30">
                  <c:v>2.8891409311251871E-2</c:v>
                </c:pt>
                <c:pt idx="31">
                  <c:v>3.0898100702647969E-2</c:v>
                </c:pt>
                <c:pt idx="32">
                  <c:v>3.5907046635863325E-2</c:v>
                </c:pt>
                <c:pt idx="33">
                  <c:v>4.3689415546865049E-2</c:v>
                </c:pt>
                <c:pt idx="34">
                  <c:v>4.5933178644635669E-2</c:v>
                </c:pt>
                <c:pt idx="35">
                  <c:v>4.4339287324735681E-2</c:v>
                </c:pt>
                <c:pt idx="36">
                  <c:v>3.7976329117352325E-2</c:v>
                </c:pt>
                <c:pt idx="37">
                  <c:v>2.3978557239203249E-2</c:v>
                </c:pt>
                <c:pt idx="38">
                  <c:v>1.9970484582259952E-2</c:v>
                </c:pt>
                <c:pt idx="39">
                  <c:v>3.1648785387375408E-2</c:v>
                </c:pt>
                <c:pt idx="40">
                  <c:v>3.2856907476758179E-2</c:v>
                </c:pt>
                <c:pt idx="41">
                  <c:v>4.2189498469051588E-2</c:v>
                </c:pt>
                <c:pt idx="42">
                  <c:v>5.8231108944766449E-2</c:v>
                </c:pt>
                <c:pt idx="43">
                  <c:v>6.8236589418071147E-2</c:v>
                </c:pt>
                <c:pt idx="44">
                  <c:v>7.2486999827975768E-2</c:v>
                </c:pt>
                <c:pt idx="45">
                  <c:v>0.11282179148333839</c:v>
                </c:pt>
                <c:pt idx="46">
                  <c:v>0.12034753895493266</c:v>
                </c:pt>
                <c:pt idx="47">
                  <c:v>0.13824088427090059</c:v>
                </c:pt>
                <c:pt idx="48">
                  <c:v>0.14972186608815743</c:v>
                </c:pt>
                <c:pt idx="49">
                  <c:v>0.1357032364973613</c:v>
                </c:pt>
                <c:pt idx="50">
                  <c:v>0.13901686951414494</c:v>
                </c:pt>
                <c:pt idx="51">
                  <c:v>0.187016514699806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I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I$2:$I$53</c:f>
              <c:numCache>
                <c:formatCode>0.0%</c:formatCode>
                <c:ptCount val="52"/>
                <c:pt idx="0">
                  <c:v>0.20041622316240157</c:v>
                </c:pt>
                <c:pt idx="1">
                  <c:v>0.11393738111488728</c:v>
                </c:pt>
                <c:pt idx="2">
                  <c:v>0.13696192649742767</c:v>
                </c:pt>
                <c:pt idx="3">
                  <c:v>0.16094565106208872</c:v>
                </c:pt>
                <c:pt idx="4">
                  <c:v>0.13552716878830739</c:v>
                </c:pt>
                <c:pt idx="5">
                  <c:v>0.12811000283852739</c:v>
                </c:pt>
                <c:pt idx="6">
                  <c:v>0.16118654268509794</c:v>
                </c:pt>
                <c:pt idx="7">
                  <c:v>0.20194515697399251</c:v>
                </c:pt>
                <c:pt idx="8">
                  <c:v>0.23569771732827244</c:v>
                </c:pt>
                <c:pt idx="9">
                  <c:v>0.26006889918995696</c:v>
                </c:pt>
                <c:pt idx="10">
                  <c:v>0.29862218971432081</c:v>
                </c:pt>
                <c:pt idx="11">
                  <c:v>0.31237430945675926</c:v>
                </c:pt>
                <c:pt idx="12">
                  <c:v>0.30083059468179424</c:v>
                </c:pt>
                <c:pt idx="13">
                  <c:v>0.22638466908547436</c:v>
                </c:pt>
                <c:pt idx="14">
                  <c:v>0.19627826865650083</c:v>
                </c:pt>
                <c:pt idx="15">
                  <c:v>0.15186949781045722</c:v>
                </c:pt>
                <c:pt idx="16">
                  <c:v>0.10816847956012431</c:v>
                </c:pt>
                <c:pt idx="17">
                  <c:v>7.8741721676523255E-2</c:v>
                </c:pt>
                <c:pt idx="18">
                  <c:v>5.3207363387199558E-2</c:v>
                </c:pt>
                <c:pt idx="19">
                  <c:v>3.0152159013022619E-2</c:v>
                </c:pt>
                <c:pt idx="20">
                  <c:v>1.6180870521318998E-2</c:v>
                </c:pt>
                <c:pt idx="21">
                  <c:v>9.1995544718384056E-3</c:v>
                </c:pt>
                <c:pt idx="22">
                  <c:v>5.8087141569764288E-3</c:v>
                </c:pt>
                <c:pt idx="23">
                  <c:v>3.7043650373311623E-3</c:v>
                </c:pt>
                <c:pt idx="24">
                  <c:v>2.7204321821338992E-3</c:v>
                </c:pt>
                <c:pt idx="25">
                  <c:v>2.1344901189314447E-3</c:v>
                </c:pt>
                <c:pt idx="26">
                  <c:v>2.0111258354252631E-3</c:v>
                </c:pt>
                <c:pt idx="27">
                  <c:v>2.3433512530782099E-3</c:v>
                </c:pt>
                <c:pt idx="28">
                  <c:v>2.8143125717401832E-3</c:v>
                </c:pt>
                <c:pt idx="29">
                  <c:v>3.483765110247946E-3</c:v>
                </c:pt>
                <c:pt idx="30">
                  <c:v>3.8001043022869918E-3</c:v>
                </c:pt>
                <c:pt idx="31">
                  <c:v>4.7280722475605544E-3</c:v>
                </c:pt>
                <c:pt idx="32">
                  <c:v>5.0274835768869819E-3</c:v>
                </c:pt>
                <c:pt idx="33">
                  <c:v>6.2417235210754972E-3</c:v>
                </c:pt>
                <c:pt idx="34">
                  <c:v>8.9875520632396125E-3</c:v>
                </c:pt>
                <c:pt idx="35">
                  <c:v>1.2670956577321677E-2</c:v>
                </c:pt>
                <c:pt idx="36">
                  <c:v>1.6751379694115217E-2</c:v>
                </c:pt>
                <c:pt idx="37">
                  <c:v>2.0444139194139194E-2</c:v>
                </c:pt>
                <c:pt idx="38">
                  <c:v>2.9341924839187968E-2</c:v>
                </c:pt>
                <c:pt idx="39">
                  <c:v>4.6197617026627683E-2</c:v>
                </c:pt>
                <c:pt idx="40">
                  <c:v>6.6678390888034927E-2</c:v>
                </c:pt>
                <c:pt idx="41">
                  <c:v>0.11175634569997235</c:v>
                </c:pt>
                <c:pt idx="42">
                  <c:v>0.15054810327419588</c:v>
                </c:pt>
                <c:pt idx="43">
                  <c:v>0.19202110339815676</c:v>
                </c:pt>
                <c:pt idx="44">
                  <c:v>0.2228222939699312</c:v>
                </c:pt>
                <c:pt idx="45">
                  <c:v>0.24583406029879135</c:v>
                </c:pt>
                <c:pt idx="46">
                  <c:v>0.25382659606727159</c:v>
                </c:pt>
                <c:pt idx="47">
                  <c:v>0.24777299622639223</c:v>
                </c:pt>
                <c:pt idx="48">
                  <c:v>0.23529259911104902</c:v>
                </c:pt>
                <c:pt idx="49">
                  <c:v>0.20158611181963143</c:v>
                </c:pt>
                <c:pt idx="50">
                  <c:v>0.16609146146957882</c:v>
                </c:pt>
                <c:pt idx="51">
                  <c:v>0.140035779317143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B$2:$B$53</c:f>
              <c:numCache>
                <c:formatCode>0.0%</c:formatCode>
                <c:ptCount val="52"/>
                <c:pt idx="0">
                  <c:v>0.10679023607107674</c:v>
                </c:pt>
                <c:pt idx="1">
                  <c:v>1.2006778285357039E-2</c:v>
                </c:pt>
                <c:pt idx="2">
                  <c:v>8.8827641169536269E-3</c:v>
                </c:pt>
                <c:pt idx="3">
                  <c:v>1.4507871584061929E-2</c:v>
                </c:pt>
                <c:pt idx="4">
                  <c:v>9.4961490559042957E-3</c:v>
                </c:pt>
                <c:pt idx="5">
                  <c:v>6.3989790864285075E-3</c:v>
                </c:pt>
                <c:pt idx="6">
                  <c:v>7.7519638086227692E-3</c:v>
                </c:pt>
                <c:pt idx="7">
                  <c:v>8.9719000116912136E-3</c:v>
                </c:pt>
                <c:pt idx="8">
                  <c:v>9.8821515291485328E-3</c:v>
                </c:pt>
                <c:pt idx="9">
                  <c:v>9.9593755840374568E-3</c:v>
                </c:pt>
                <c:pt idx="10">
                  <c:v>1.0592872434075765E-2</c:v>
                </c:pt>
                <c:pt idx="11">
                  <c:v>1.0726820655111527E-2</c:v>
                </c:pt>
                <c:pt idx="12">
                  <c:v>9.5817325752634765E-3</c:v>
                </c:pt>
                <c:pt idx="13">
                  <c:v>8.5199408015012423E-3</c:v>
                </c:pt>
                <c:pt idx="14">
                  <c:v>7.7665079846553527E-3</c:v>
                </c:pt>
                <c:pt idx="15">
                  <c:v>7.2921638798498726E-3</c:v>
                </c:pt>
                <c:pt idx="16">
                  <c:v>6.4231765136245934E-3</c:v>
                </c:pt>
                <c:pt idx="17">
                  <c:v>1.8450199595940425E-3</c:v>
                </c:pt>
                <c:pt idx="18">
                  <c:v>1.4124968541409848E-3</c:v>
                </c:pt>
                <c:pt idx="19">
                  <c:v>7.4116002600836824E-4</c:v>
                </c:pt>
                <c:pt idx="20">
                  <c:v>8.6148071632666798E-4</c:v>
                </c:pt>
                <c:pt idx="21">
                  <c:v>4.9881726393380377E-4</c:v>
                </c:pt>
                <c:pt idx="22">
                  <c:v>2.9825342088708533E-4</c:v>
                </c:pt>
                <c:pt idx="23">
                  <c:v>1.7685809996859976E-4</c:v>
                </c:pt>
                <c:pt idx="24">
                  <c:v>1.245386887048178E-4</c:v>
                </c:pt>
                <c:pt idx="25">
                  <c:v>1.3166365240795764E-4</c:v>
                </c:pt>
                <c:pt idx="26">
                  <c:v>2.684131283243138E-4</c:v>
                </c:pt>
                <c:pt idx="27">
                  <c:v>6.4409399305953466E-4</c:v>
                </c:pt>
                <c:pt idx="28">
                  <c:v>9.01950628533486E-4</c:v>
                </c:pt>
                <c:pt idx="29">
                  <c:v>1.0093815667241268E-3</c:v>
                </c:pt>
                <c:pt idx="30">
                  <c:v>1.3509894053988735E-3</c:v>
                </c:pt>
                <c:pt idx="31">
                  <c:v>2.28271017280116E-3</c:v>
                </c:pt>
                <c:pt idx="32">
                  <c:v>2.9089946127858666E-3</c:v>
                </c:pt>
                <c:pt idx="33">
                  <c:v>3.4908972523427415E-3</c:v>
                </c:pt>
                <c:pt idx="34">
                  <c:v>3.9796939162708442E-3</c:v>
                </c:pt>
                <c:pt idx="35">
                  <c:v>4.248892821761681E-3</c:v>
                </c:pt>
                <c:pt idx="36">
                  <c:v>4.6213417319023497E-3</c:v>
                </c:pt>
                <c:pt idx="37">
                  <c:v>3.7181736882152356E-3</c:v>
                </c:pt>
                <c:pt idx="38">
                  <c:v>4.1767487026011648E-3</c:v>
                </c:pt>
                <c:pt idx="39">
                  <c:v>3.4909589787743469E-3</c:v>
                </c:pt>
                <c:pt idx="40">
                  <c:v>4.2734293735187589E-3</c:v>
                </c:pt>
                <c:pt idx="41">
                  <c:v>6.464042847245873E-3</c:v>
                </c:pt>
                <c:pt idx="42">
                  <c:v>1.1246619914990841E-2</c:v>
                </c:pt>
                <c:pt idx="43">
                  <c:v>1.1862152134515545E-2</c:v>
                </c:pt>
                <c:pt idx="44">
                  <c:v>1.8290829455597978E-2</c:v>
                </c:pt>
                <c:pt idx="45">
                  <c:v>1.6471021814205046E-2</c:v>
                </c:pt>
                <c:pt idx="46">
                  <c:v>1.0565498090869697E-2</c:v>
                </c:pt>
                <c:pt idx="47">
                  <c:v>8.4549346387101845E-3</c:v>
                </c:pt>
                <c:pt idx="48">
                  <c:v>5.7912889649682185E-3</c:v>
                </c:pt>
                <c:pt idx="49">
                  <c:v>3.1500731433897538E-3</c:v>
                </c:pt>
                <c:pt idx="50">
                  <c:v>3.0725958949464833E-3</c:v>
                </c:pt>
                <c:pt idx="51">
                  <c:v>4.803442425783842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K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K$2:$K$53</c:f>
              <c:numCache>
                <c:formatCode>0.0%</c:formatCode>
                <c:ptCount val="52"/>
                <c:pt idx="0">
                  <c:v>0.52607043570101852</c:v>
                </c:pt>
                <c:pt idx="1">
                  <c:v>0.41248808257222996</c:v>
                </c:pt>
                <c:pt idx="2">
                  <c:v>0.50369860657147769</c:v>
                </c:pt>
                <c:pt idx="3">
                  <c:v>0.46675018422991893</c:v>
                </c:pt>
                <c:pt idx="4">
                  <c:v>0.51830503638179481</c:v>
                </c:pt>
                <c:pt idx="5">
                  <c:v>0.49291899562686436</c:v>
                </c:pt>
                <c:pt idx="6">
                  <c:v>0.53619298995827003</c:v>
                </c:pt>
                <c:pt idx="7">
                  <c:v>0.48659883034801082</c:v>
                </c:pt>
                <c:pt idx="8">
                  <c:v>0.42783894991860333</c:v>
                </c:pt>
                <c:pt idx="9">
                  <c:v>0.39096586063657118</c:v>
                </c:pt>
                <c:pt idx="10">
                  <c:v>0.34839991695583827</c:v>
                </c:pt>
                <c:pt idx="11">
                  <c:v>0.30373660664533281</c:v>
                </c:pt>
                <c:pt idx="12">
                  <c:v>0.2705167727695591</c:v>
                </c:pt>
                <c:pt idx="13">
                  <c:v>0.21305568130375735</c:v>
                </c:pt>
                <c:pt idx="14">
                  <c:v>0.15371063642369523</c:v>
                </c:pt>
                <c:pt idx="15">
                  <c:v>9.8519132804170129E-2</c:v>
                </c:pt>
                <c:pt idx="16">
                  <c:v>7.8997096372770428E-2</c:v>
                </c:pt>
                <c:pt idx="17">
                  <c:v>0.10015339899886969</c:v>
                </c:pt>
                <c:pt idx="18">
                  <c:v>4.4307930041108372E-3</c:v>
                </c:pt>
                <c:pt idx="19">
                  <c:v>3.8954919272416988E-3</c:v>
                </c:pt>
                <c:pt idx="20">
                  <c:v>3.4675485096742386E-3</c:v>
                </c:pt>
                <c:pt idx="21">
                  <c:v>3.1446127126560793E-3</c:v>
                </c:pt>
                <c:pt idx="22">
                  <c:v>2.4742329137179176E-3</c:v>
                </c:pt>
                <c:pt idx="23">
                  <c:v>1.4969722256678582E-3</c:v>
                </c:pt>
                <c:pt idx="24">
                  <c:v>1.3160906385900665E-3</c:v>
                </c:pt>
                <c:pt idx="25">
                  <c:v>1.0677334676159702E-3</c:v>
                </c:pt>
                <c:pt idx="26">
                  <c:v>2.4285447412665793E-3</c:v>
                </c:pt>
                <c:pt idx="27">
                  <c:v>2.2151018431707894E-3</c:v>
                </c:pt>
                <c:pt idx="28">
                  <c:v>3.1765375740442918E-3</c:v>
                </c:pt>
                <c:pt idx="29">
                  <c:v>4.1363613873633166E-3</c:v>
                </c:pt>
                <c:pt idx="30">
                  <c:v>4.4324937503938825E-3</c:v>
                </c:pt>
                <c:pt idx="31">
                  <c:v>5.7273653111229875E-3</c:v>
                </c:pt>
                <c:pt idx="32">
                  <c:v>5.9536372590403824E-3</c:v>
                </c:pt>
                <c:pt idx="33">
                  <c:v>7.3170949083357839E-3</c:v>
                </c:pt>
                <c:pt idx="34">
                  <c:v>1.1196375255355927E-2</c:v>
                </c:pt>
                <c:pt idx="35">
                  <c:v>1.7050535120214604E-2</c:v>
                </c:pt>
                <c:pt idx="36">
                  <c:v>2.8315500796283626E-2</c:v>
                </c:pt>
                <c:pt idx="37">
                  <c:v>2.9621302416296458E-2</c:v>
                </c:pt>
                <c:pt idx="38">
                  <c:v>3.8364537541376954E-2</c:v>
                </c:pt>
                <c:pt idx="39">
                  <c:v>4.5630007586937131E-2</c:v>
                </c:pt>
                <c:pt idx="40">
                  <c:v>5.5002372731586785E-2</c:v>
                </c:pt>
                <c:pt idx="41">
                  <c:v>8.3167393348089036E-2</c:v>
                </c:pt>
                <c:pt idx="42">
                  <c:v>0.11237838503537267</c:v>
                </c:pt>
                <c:pt idx="43">
                  <c:v>0.13807666588812706</c:v>
                </c:pt>
                <c:pt idx="44">
                  <c:v>0.13428417653390742</c:v>
                </c:pt>
                <c:pt idx="45">
                  <c:v>0.15010355955878812</c:v>
                </c:pt>
                <c:pt idx="46">
                  <c:v>0.13439666054684801</c:v>
                </c:pt>
                <c:pt idx="47">
                  <c:v>0.12896617146270617</c:v>
                </c:pt>
                <c:pt idx="48">
                  <c:v>0.11788053445113963</c:v>
                </c:pt>
                <c:pt idx="49">
                  <c:v>9.2039764119197481E-2</c:v>
                </c:pt>
                <c:pt idx="50">
                  <c:v>8.6498538802900746E-2</c:v>
                </c:pt>
                <c:pt idx="51">
                  <c:v>8.870279043356568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L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L$2:$L$53</c:f>
              <c:numCache>
                <c:formatCode>0.0%</c:formatCode>
                <c:ptCount val="52"/>
                <c:pt idx="0">
                  <c:v>0.15400113116395228</c:v>
                </c:pt>
                <c:pt idx="1">
                  <c:v>0.16334208095500813</c:v>
                </c:pt>
                <c:pt idx="2">
                  <c:v>0.14167157888873932</c:v>
                </c:pt>
                <c:pt idx="3">
                  <c:v>0.11238456657473997</c:v>
                </c:pt>
                <c:pt idx="4">
                  <c:v>8.1802812717147205E-2</c:v>
                </c:pt>
                <c:pt idx="5">
                  <c:v>6.0456923960435428E-2</c:v>
                </c:pt>
                <c:pt idx="6">
                  <c:v>5.3764535117271819E-2</c:v>
                </c:pt>
                <c:pt idx="7">
                  <c:v>4.7915383314425103E-2</c:v>
                </c:pt>
                <c:pt idx="8">
                  <c:v>4.2203931231817073E-2</c:v>
                </c:pt>
                <c:pt idx="9">
                  <c:v>4.3412771355014861E-2</c:v>
                </c:pt>
                <c:pt idx="10">
                  <c:v>4.7220962915948864E-2</c:v>
                </c:pt>
                <c:pt idx="11">
                  <c:v>5.3139487408713326E-2</c:v>
                </c:pt>
                <c:pt idx="12">
                  <c:v>6.7474189344960661E-2</c:v>
                </c:pt>
                <c:pt idx="13">
                  <c:v>7.2034541498709748E-2</c:v>
                </c:pt>
                <c:pt idx="14">
                  <c:v>6.7599440014160558E-2</c:v>
                </c:pt>
                <c:pt idx="15">
                  <c:v>6.6032358586197604E-2</c:v>
                </c:pt>
                <c:pt idx="16">
                  <c:v>6.0812460774804587E-2</c:v>
                </c:pt>
                <c:pt idx="17">
                  <c:v>5.1347024407757437E-2</c:v>
                </c:pt>
                <c:pt idx="18">
                  <c:v>4.483938755580897E-2</c:v>
                </c:pt>
                <c:pt idx="19">
                  <c:v>4.4393996375944475E-2</c:v>
                </c:pt>
                <c:pt idx="20">
                  <c:v>4.393042727223654E-2</c:v>
                </c:pt>
                <c:pt idx="21">
                  <c:v>4.1189579651118115E-2</c:v>
                </c:pt>
                <c:pt idx="22">
                  <c:v>3.7625627557790996E-2</c:v>
                </c:pt>
                <c:pt idx="23">
                  <c:v>3.797194562161036E-2</c:v>
                </c:pt>
                <c:pt idx="24">
                  <c:v>4.8149123217888064E-2</c:v>
                </c:pt>
                <c:pt idx="25">
                  <c:v>9.352816238869513E-2</c:v>
                </c:pt>
                <c:pt idx="26">
                  <c:v>0.12776474316220301</c:v>
                </c:pt>
                <c:pt idx="27">
                  <c:v>0.14410850245238654</c:v>
                </c:pt>
                <c:pt idx="28">
                  <c:v>0.14572178114531847</c:v>
                </c:pt>
                <c:pt idx="29">
                  <c:v>0.12976807085006523</c:v>
                </c:pt>
                <c:pt idx="30">
                  <c:v>0.1149799783696617</c:v>
                </c:pt>
                <c:pt idx="31">
                  <c:v>0.10108092120299539</c:v>
                </c:pt>
                <c:pt idx="32">
                  <c:v>8.7610140720551941E-2</c:v>
                </c:pt>
                <c:pt idx="33">
                  <c:v>7.0786211216987041E-2</c:v>
                </c:pt>
                <c:pt idx="34">
                  <c:v>4.9267376983644168E-2</c:v>
                </c:pt>
                <c:pt idx="35">
                  <c:v>3.7456845834572469E-2</c:v>
                </c:pt>
                <c:pt idx="36">
                  <c:v>2.8258882088528836E-2</c:v>
                </c:pt>
                <c:pt idx="37">
                  <c:v>2.2583031820409643E-2</c:v>
                </c:pt>
                <c:pt idx="38">
                  <c:v>1.8445964548169169E-2</c:v>
                </c:pt>
                <c:pt idx="39">
                  <c:v>1.8296274480930644E-2</c:v>
                </c:pt>
                <c:pt idx="40">
                  <c:v>1.9904068669784621E-2</c:v>
                </c:pt>
                <c:pt idx="41">
                  <c:v>2.1553022607379801E-2</c:v>
                </c:pt>
                <c:pt idx="42">
                  <c:v>2.3693597289102909E-2</c:v>
                </c:pt>
                <c:pt idx="43">
                  <c:v>2.9844833031521151E-2</c:v>
                </c:pt>
                <c:pt idx="44">
                  <c:v>3.9523773862792454E-2</c:v>
                </c:pt>
                <c:pt idx="45">
                  <c:v>5.3692758471918199E-2</c:v>
                </c:pt>
                <c:pt idx="46">
                  <c:v>6.6044199441104845E-2</c:v>
                </c:pt>
                <c:pt idx="47">
                  <c:v>8.0400220421807181E-2</c:v>
                </c:pt>
                <c:pt idx="48">
                  <c:v>0.1088878602350571</c:v>
                </c:pt>
                <c:pt idx="49">
                  <c:v>0.13814497860558772</c:v>
                </c:pt>
                <c:pt idx="50" formatCode="General">
                  <c:v>0.19632952082258301</c:v>
                </c:pt>
                <c:pt idx="51" formatCode="General">
                  <c:v>0.265578768195616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59794312"/>
        <c:axId val="359798624"/>
      </c:lineChart>
      <c:catAx>
        <c:axId val="359794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8624"/>
        <c:crosses val="autoZero"/>
        <c:auto val="1"/>
        <c:lblAlgn val="ctr"/>
        <c:lblOffset val="100"/>
        <c:tickLblSkip val="1"/>
        <c:noMultiLvlLbl val="1"/>
      </c:catAx>
      <c:valAx>
        <c:axId val="3597986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9794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4275707643454352"/>
          <c:y val="1.4875792985185116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26186047087021E-2"/>
          <c:y val="0.17430720191409677"/>
          <c:w val="0.87881422312393831"/>
          <c:h val="0.6760638962375074"/>
        </c:manualLayout>
      </c:layout>
      <c:lineChart>
        <c:grouping val="standard"/>
        <c:varyColors val="0"/>
        <c:ser>
          <c:idx val="9"/>
          <c:order val="0"/>
          <c:tx>
            <c:strRef>
              <c:f>List1!$I$1</c:f>
              <c:strCache>
                <c:ptCount val="1"/>
                <c:pt idx="0">
                  <c:v>Belgie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I$2:$I$53</c:f>
              <c:numCache>
                <c:formatCode>General</c:formatCode>
                <c:ptCount val="52"/>
                <c:pt idx="0">
                  <c:v>7.2901225782039223</c:v>
                </c:pt>
                <c:pt idx="1">
                  <c:v>6.3181062344433991</c:v>
                </c:pt>
                <c:pt idx="2">
                  <c:v>6.2052829088283383</c:v>
                </c:pt>
                <c:pt idx="3">
                  <c:v>5.7800257584331094</c:v>
                </c:pt>
                <c:pt idx="4">
                  <c:v>5.1204432394527544</c:v>
                </c:pt>
                <c:pt idx="5">
                  <c:v>4.9989411964826891</c:v>
                </c:pt>
                <c:pt idx="6">
                  <c:v>4.2438927865972831</c:v>
                </c:pt>
                <c:pt idx="7">
                  <c:v>3.2979125949017747</c:v>
                </c:pt>
                <c:pt idx="8">
                  <c:v>2.9594426180565918</c:v>
                </c:pt>
                <c:pt idx="9">
                  <c:v>2.9681213354115967</c:v>
                </c:pt>
                <c:pt idx="10">
                  <c:v>3.0288723568966294</c:v>
                </c:pt>
                <c:pt idx="11">
                  <c:v>3.176410551931709</c:v>
                </c:pt>
                <c:pt idx="12">
                  <c:v>3.8533505056220734</c:v>
                </c:pt>
                <c:pt idx="13">
                  <c:v>4.7038648064125308</c:v>
                </c:pt>
                <c:pt idx="14">
                  <c:v>4.7559371105425585</c:v>
                </c:pt>
                <c:pt idx="15">
                  <c:v>4.6431137849274977</c:v>
                </c:pt>
                <c:pt idx="16">
                  <c:v>4.5736840460874602</c:v>
                </c:pt>
                <c:pt idx="17">
                  <c:v>4.4174671336973761</c:v>
                </c:pt>
                <c:pt idx="18">
                  <c:v>3.4280933552268444</c:v>
                </c:pt>
                <c:pt idx="19">
                  <c:v>2.334574968496256</c:v>
                </c:pt>
                <c:pt idx="20">
                  <c:v>1.9700688395860599</c:v>
                </c:pt>
                <c:pt idx="21">
                  <c:v>1.5795265586108498</c:v>
                </c:pt>
                <c:pt idx="22">
                  <c:v>1.1629481255706258</c:v>
                </c:pt>
                <c:pt idx="23">
                  <c:v>0.78976327930542489</c:v>
                </c:pt>
                <c:pt idx="24">
                  <c:v>0.5554379107202988</c:v>
                </c:pt>
                <c:pt idx="25">
                  <c:v>0.37318484626520076</c:v>
                </c:pt>
                <c:pt idx="26">
                  <c:v>0.26036152065014007</c:v>
                </c:pt>
                <c:pt idx="27">
                  <c:v>0.14753819503507937</c:v>
                </c:pt>
                <c:pt idx="28">
                  <c:v>0.15621691239008403</c:v>
                </c:pt>
                <c:pt idx="29">
                  <c:v>0.2777189553601494</c:v>
                </c:pt>
                <c:pt idx="30">
                  <c:v>0.3818635636202054</c:v>
                </c:pt>
                <c:pt idx="31">
                  <c:v>0.3905422809752101</c:v>
                </c:pt>
                <c:pt idx="32">
                  <c:v>0.5467591933652941</c:v>
                </c:pt>
                <c:pt idx="33">
                  <c:v>0.63354636691534083</c:v>
                </c:pt>
                <c:pt idx="34">
                  <c:v>0.62486764956033614</c:v>
                </c:pt>
                <c:pt idx="35">
                  <c:v>0.76372712724041081</c:v>
                </c:pt>
                <c:pt idx="36">
                  <c:v>0.75504840988540622</c:v>
                </c:pt>
                <c:pt idx="37">
                  <c:v>0.80712071401543428</c:v>
                </c:pt>
                <c:pt idx="38">
                  <c:v>0.95465890905051365</c:v>
                </c:pt>
                <c:pt idx="39">
                  <c:v>1.0240886478905511</c:v>
                </c:pt>
                <c:pt idx="40">
                  <c:v>1.3278437553157143</c:v>
                </c:pt>
                <c:pt idx="41">
                  <c:v>1.7270647536459289</c:v>
                </c:pt>
                <c:pt idx="42">
                  <c:v>2.2304303602362001</c:v>
                </c:pt>
                <c:pt idx="43">
                  <c:v>2.6209726412114103</c:v>
                </c:pt>
                <c:pt idx="44">
                  <c:v>3.0288723568966294</c:v>
                </c:pt>
                <c:pt idx="45">
                  <c:v>3.9574951138821293</c:v>
                </c:pt>
                <c:pt idx="46">
                  <c:v>4.8340455667376006</c:v>
                </c:pt>
                <c:pt idx="47">
                  <c:v>5.6151301286880209</c:v>
                </c:pt>
                <c:pt idx="48">
                  <c:v>5.7279534543030817</c:v>
                </c:pt>
                <c:pt idx="49">
                  <c:v>4.8600817188026149</c:v>
                </c:pt>
                <c:pt idx="50">
                  <c:v>4.0616397221421847</c:v>
                </c:pt>
                <c:pt idx="51">
                  <c:v>3.23716157341674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5-4FAB-ADE2-F4AB2C1CD7F1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Česká Republik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C$2:$C$53</c:f>
              <c:numCache>
                <c:formatCode>General</c:formatCode>
                <c:ptCount val="52"/>
                <c:pt idx="0">
                  <c:v>20.712667240761334</c:v>
                </c:pt>
                <c:pt idx="1">
                  <c:v>22.367810401761222</c:v>
                </c:pt>
                <c:pt idx="2">
                  <c:v>20.619156327710492</c:v>
                </c:pt>
                <c:pt idx="3">
                  <c:v>18.861151162354677</c:v>
                </c:pt>
                <c:pt idx="4">
                  <c:v>17.729669114439496</c:v>
                </c:pt>
                <c:pt idx="5">
                  <c:v>17.449136375286972</c:v>
                </c:pt>
                <c:pt idx="6">
                  <c:v>19.048172988456358</c:v>
                </c:pt>
                <c:pt idx="7">
                  <c:v>21.479456727778231</c:v>
                </c:pt>
                <c:pt idx="8">
                  <c:v>24.509210310625484</c:v>
                </c:pt>
                <c:pt idx="9">
                  <c:v>27.679230263049003</c:v>
                </c:pt>
                <c:pt idx="10">
                  <c:v>27.735336810879506</c:v>
                </c:pt>
                <c:pt idx="11">
                  <c:v>24.527912493235654</c:v>
                </c:pt>
                <c:pt idx="12">
                  <c:v>20.899689066863015</c:v>
                </c:pt>
                <c:pt idx="13">
                  <c:v>17.056390540473441</c:v>
                </c:pt>
                <c:pt idx="14">
                  <c:v>12.717484174914407</c:v>
                </c:pt>
                <c:pt idx="15">
                  <c:v>9.2482293007281964</c:v>
                </c:pt>
                <c:pt idx="16">
                  <c:v>7.0507228440334284</c:v>
                </c:pt>
                <c:pt idx="17">
                  <c:v>5.5171438699996322</c:v>
                </c:pt>
                <c:pt idx="18">
                  <c:v>3.9555116220505839</c:v>
                </c:pt>
                <c:pt idx="19">
                  <c:v>2.5528479262879653</c:v>
                </c:pt>
                <c:pt idx="20">
                  <c:v>1.5242278827287119</c:v>
                </c:pt>
                <c:pt idx="21">
                  <c:v>0.87900258267790754</c:v>
                </c:pt>
                <c:pt idx="22">
                  <c:v>0.5984698435253839</c:v>
                </c:pt>
                <c:pt idx="23">
                  <c:v>0.37404365220336494</c:v>
                </c:pt>
                <c:pt idx="24">
                  <c:v>0.22442619132201896</c:v>
                </c:pt>
                <c:pt idx="25">
                  <c:v>0.16831964349151421</c:v>
                </c:pt>
                <c:pt idx="26">
                  <c:v>9.3510913050841235E-2</c:v>
                </c:pt>
                <c:pt idx="27">
                  <c:v>5.6106547830504741E-2</c:v>
                </c:pt>
                <c:pt idx="28">
                  <c:v>5.6106547830504741E-2</c:v>
                </c:pt>
                <c:pt idx="29">
                  <c:v>6.5457639135588858E-2</c:v>
                </c:pt>
                <c:pt idx="30">
                  <c:v>7.4808730440672988E-2</c:v>
                </c:pt>
                <c:pt idx="31">
                  <c:v>8.4159821745757105E-2</c:v>
                </c:pt>
                <c:pt idx="32">
                  <c:v>0.13091527827117772</c:v>
                </c:pt>
                <c:pt idx="33">
                  <c:v>0.15896855218643008</c:v>
                </c:pt>
                <c:pt idx="34">
                  <c:v>9.3510913050841235E-2</c:v>
                </c:pt>
                <c:pt idx="35">
                  <c:v>7.4808730440672988E-2</c:v>
                </c:pt>
                <c:pt idx="36">
                  <c:v>0.19637291740676657</c:v>
                </c:pt>
                <c:pt idx="37">
                  <c:v>0.26183055654235543</c:v>
                </c:pt>
                <c:pt idx="38">
                  <c:v>0.26183055654235543</c:v>
                </c:pt>
                <c:pt idx="39">
                  <c:v>0.3833947435084491</c:v>
                </c:pt>
                <c:pt idx="40">
                  <c:v>0.73873621310164572</c:v>
                </c:pt>
                <c:pt idx="41">
                  <c:v>1.3091527827117773</c:v>
                </c:pt>
                <c:pt idx="42">
                  <c:v>2.3471239175761149</c:v>
                </c:pt>
                <c:pt idx="43">
                  <c:v>4.3856618220844537</c:v>
                </c:pt>
                <c:pt idx="44">
                  <c:v>7.1629359396944379</c:v>
                </c:pt>
                <c:pt idx="45">
                  <c:v>10.725701726931488</c:v>
                </c:pt>
                <c:pt idx="46">
                  <c:v>13.568433483677062</c:v>
                </c:pt>
                <c:pt idx="47">
                  <c:v>14.90563954030409</c:v>
                </c:pt>
                <c:pt idx="48">
                  <c:v>15.21422555337187</c:v>
                </c:pt>
                <c:pt idx="49">
                  <c:v>13.979881501100763</c:v>
                </c:pt>
                <c:pt idx="50">
                  <c:v>11.352224844372124</c:v>
                </c:pt>
                <c:pt idx="51">
                  <c:v>8.37857780935537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5-4FAB-ADE2-F4AB2C1CD7F1}"/>
            </c:ext>
          </c:extLst>
        </c:ser>
        <c:ser>
          <c:idx val="3"/>
          <c:order val="2"/>
          <c:tx>
            <c:strRef>
              <c:f>List1!$D$1</c:f>
              <c:strCache>
                <c:ptCount val="1"/>
                <c:pt idx="0">
                  <c:v>Francie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D$2:$D$53</c:f>
              <c:numCache>
                <c:formatCode>General</c:formatCode>
                <c:ptCount val="52"/>
                <c:pt idx="0">
                  <c:v>9.4429287036155678</c:v>
                </c:pt>
                <c:pt idx="1">
                  <c:v>10.246550605244641</c:v>
                </c:pt>
                <c:pt idx="2">
                  <c:v>10.21387097153699</c:v>
                </c:pt>
                <c:pt idx="3">
                  <c:v>9.7830939817543072</c:v>
                </c:pt>
                <c:pt idx="4">
                  <c:v>9.2706179077024942</c:v>
                </c:pt>
                <c:pt idx="5">
                  <c:v>8.900743871647709</c:v>
                </c:pt>
                <c:pt idx="6">
                  <c:v>8.0926656563312278</c:v>
                </c:pt>
                <c:pt idx="7">
                  <c:v>6.9978979271248916</c:v>
                </c:pt>
                <c:pt idx="8">
                  <c:v>6.3160819329516107</c:v>
                </c:pt>
                <c:pt idx="9">
                  <c:v>5.8882758189605333</c:v>
                </c:pt>
                <c:pt idx="10">
                  <c:v>5.5273144102805611</c:v>
                </c:pt>
                <c:pt idx="11">
                  <c:v>5.4990910902603165</c:v>
                </c:pt>
                <c:pt idx="12">
                  <c:v>5.7397320293802983</c:v>
                </c:pt>
                <c:pt idx="13">
                  <c:v>6.1497128886217478</c:v>
                </c:pt>
                <c:pt idx="14">
                  <c:v>6.1408002612469339</c:v>
                </c:pt>
                <c:pt idx="15">
                  <c:v>6.0635574906652119</c:v>
                </c:pt>
                <c:pt idx="16">
                  <c:v>6.0665283664568159</c:v>
                </c:pt>
                <c:pt idx="17">
                  <c:v>5.2658773406193466</c:v>
                </c:pt>
                <c:pt idx="18">
                  <c:v>4.1250610366431388</c:v>
                </c:pt>
                <c:pt idx="19">
                  <c:v>3.2486526781197496</c:v>
                </c:pt>
                <c:pt idx="20">
                  <c:v>2.6128852587163416</c:v>
                </c:pt>
                <c:pt idx="21">
                  <c:v>2.0677295509568774</c:v>
                </c:pt>
                <c:pt idx="22">
                  <c:v>1.4572145757821098</c:v>
                </c:pt>
                <c:pt idx="23">
                  <c:v>1.0561463439154741</c:v>
                </c:pt>
                <c:pt idx="24">
                  <c:v>0.84818503850314442</c:v>
                </c:pt>
                <c:pt idx="25">
                  <c:v>0.66250530152785003</c:v>
                </c:pt>
                <c:pt idx="26">
                  <c:v>0.54367026986366174</c:v>
                </c:pt>
                <c:pt idx="27">
                  <c:v>0.42334980030367103</c:v>
                </c:pt>
                <c:pt idx="28">
                  <c:v>0.39512648028342628</c:v>
                </c:pt>
                <c:pt idx="29">
                  <c:v>0.64319460888241953</c:v>
                </c:pt>
                <c:pt idx="30">
                  <c:v>0.95068025331350692</c:v>
                </c:pt>
                <c:pt idx="31">
                  <c:v>1.2121173229747213</c:v>
                </c:pt>
                <c:pt idx="32">
                  <c:v>1.8998750687312114</c:v>
                </c:pt>
                <c:pt idx="33">
                  <c:v>2.3039141763894517</c:v>
                </c:pt>
                <c:pt idx="34">
                  <c:v>2.1167490015183552</c:v>
                </c:pt>
                <c:pt idx="35">
                  <c:v>1.9280983887514564</c:v>
                </c:pt>
                <c:pt idx="36">
                  <c:v>1.6310108095909852</c:v>
                </c:pt>
                <c:pt idx="37">
                  <c:v>1.327981478847305</c:v>
                </c:pt>
                <c:pt idx="38">
                  <c:v>1.0888259776231259</c:v>
                </c:pt>
                <c:pt idx="39">
                  <c:v>0.85115591429474924</c:v>
                </c:pt>
                <c:pt idx="40">
                  <c:v>0.67438880469426887</c:v>
                </c:pt>
                <c:pt idx="41">
                  <c:v>0.60902953727896536</c:v>
                </c:pt>
                <c:pt idx="42">
                  <c:v>0.60605866148736065</c:v>
                </c:pt>
                <c:pt idx="43">
                  <c:v>0.65507811204883837</c:v>
                </c:pt>
                <c:pt idx="44">
                  <c:v>0.71449562788093246</c:v>
                </c:pt>
                <c:pt idx="45">
                  <c:v>0.84818503850314442</c:v>
                </c:pt>
                <c:pt idx="46">
                  <c:v>1.1764668134754648</c:v>
                </c:pt>
                <c:pt idx="47">
                  <c:v>1.6414088748616016</c:v>
                </c:pt>
                <c:pt idx="48">
                  <c:v>2.3098559279726616</c:v>
                </c:pt>
                <c:pt idx="49">
                  <c:v>2.9426524715844642</c:v>
                </c:pt>
                <c:pt idx="50">
                  <c:v>3.3407498276594954</c:v>
                </c:pt>
                <c:pt idx="51">
                  <c:v>3.72102192898489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B95-4FAB-ADE2-F4AB2C1CD7F1}"/>
            </c:ext>
          </c:extLst>
        </c:ser>
        <c:ser>
          <c:idx val="5"/>
          <c:order val="3"/>
          <c:tx>
            <c:strRef>
              <c:f>List1!$F$1</c:f>
              <c:strCache>
                <c:ptCount val="1"/>
                <c:pt idx="0">
                  <c:v>Itálie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F$2:$F$53</c:f>
              <c:numCache>
                <c:formatCode>General</c:formatCode>
                <c:ptCount val="52"/>
                <c:pt idx="0">
                  <c:v>10.994024830500541</c:v>
                </c:pt>
                <c:pt idx="1">
                  <c:v>11.034265275205742</c:v>
                </c:pt>
                <c:pt idx="2">
                  <c:v>10.737491995504874</c:v>
                </c:pt>
                <c:pt idx="3">
                  <c:v>10.001427194438879</c:v>
                </c:pt>
                <c:pt idx="4">
                  <c:v>9.0490700030824183</c:v>
                </c:pt>
                <c:pt idx="5">
                  <c:v>7.8636535694749936</c:v>
                </c:pt>
                <c:pt idx="6">
                  <c:v>7.0437545086064928</c:v>
                </c:pt>
                <c:pt idx="7">
                  <c:v>6.896206211354083</c:v>
                </c:pt>
                <c:pt idx="8">
                  <c:v>7.187949435466801</c:v>
                </c:pt>
                <c:pt idx="9">
                  <c:v>7.9240142365327975</c:v>
                </c:pt>
                <c:pt idx="10">
                  <c:v>8.9149351873984095</c:v>
                </c:pt>
                <c:pt idx="11">
                  <c:v>9.7733980077760645</c:v>
                </c:pt>
                <c:pt idx="12">
                  <c:v>10.164065658455737</c:v>
                </c:pt>
                <c:pt idx="13">
                  <c:v>10.070171287476931</c:v>
                </c:pt>
                <c:pt idx="14">
                  <c:v>9.0037995027890663</c:v>
                </c:pt>
                <c:pt idx="15">
                  <c:v>7.7429322353593859</c:v>
                </c:pt>
                <c:pt idx="16">
                  <c:v>6.6178764688097651</c:v>
                </c:pt>
                <c:pt idx="17">
                  <c:v>5.3771294237326881</c:v>
                </c:pt>
                <c:pt idx="18">
                  <c:v>4.3090809538487704</c:v>
                </c:pt>
                <c:pt idx="19">
                  <c:v>3.2527692803372039</c:v>
                </c:pt>
                <c:pt idx="20">
                  <c:v>2.310472200157045</c:v>
                </c:pt>
                <c:pt idx="21">
                  <c:v>1.6414748069330529</c:v>
                </c:pt>
                <c:pt idx="22">
                  <c:v>1.1669728964508732</c:v>
                </c:pt>
                <c:pt idx="23">
                  <c:v>0.82995917204480218</c:v>
                </c:pt>
                <c:pt idx="24">
                  <c:v>0.5834864482254366</c:v>
                </c:pt>
                <c:pt idx="25">
                  <c:v>0.41246455822832584</c:v>
                </c:pt>
                <c:pt idx="26">
                  <c:v>0.31018676126926947</c:v>
                </c:pt>
                <c:pt idx="27">
                  <c:v>0.24311935342726523</c:v>
                </c:pt>
                <c:pt idx="28">
                  <c:v>0.23138255705491453</c:v>
                </c:pt>
                <c:pt idx="29">
                  <c:v>0.27497637215221726</c:v>
                </c:pt>
                <c:pt idx="30">
                  <c:v>0.39569770626782486</c:v>
                </c:pt>
                <c:pt idx="31">
                  <c:v>0.63378700410693978</c:v>
                </c:pt>
                <c:pt idx="32">
                  <c:v>0.91379343184730744</c:v>
                </c:pt>
                <c:pt idx="33">
                  <c:v>1.1384692481180214</c:v>
                </c:pt>
                <c:pt idx="34">
                  <c:v>1.291047600958581</c:v>
                </c:pt>
                <c:pt idx="35">
                  <c:v>1.337994786447984</c:v>
                </c:pt>
                <c:pt idx="36">
                  <c:v>1.289370915762531</c:v>
                </c:pt>
                <c:pt idx="37">
                  <c:v>1.1988299151758253</c:v>
                </c:pt>
                <c:pt idx="38">
                  <c:v>1.0546349883155162</c:v>
                </c:pt>
                <c:pt idx="39">
                  <c:v>0.87355298714210494</c:v>
                </c:pt>
                <c:pt idx="40">
                  <c:v>0.75450833822254737</c:v>
                </c:pt>
                <c:pt idx="41">
                  <c:v>0.75115496783044722</c:v>
                </c:pt>
                <c:pt idx="42">
                  <c:v>0.84169596841715288</c:v>
                </c:pt>
                <c:pt idx="43">
                  <c:v>0.95235719135645969</c:v>
                </c:pt>
                <c:pt idx="44">
                  <c:v>1.1183490257654203</c:v>
                </c:pt>
                <c:pt idx="45">
                  <c:v>1.3396714716440341</c:v>
                </c:pt>
                <c:pt idx="46">
                  <c:v>1.5660239731107983</c:v>
                </c:pt>
                <c:pt idx="47">
                  <c:v>1.7689028818328609</c:v>
                </c:pt>
                <c:pt idx="48">
                  <c:v>2.0807663282981803</c:v>
                </c:pt>
                <c:pt idx="49">
                  <c:v>2.4529904418213038</c:v>
                </c:pt>
                <c:pt idx="50">
                  <c:v>2.8118010737760266</c:v>
                </c:pt>
                <c:pt idx="51">
                  <c:v>2.66928283211176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B95-4FAB-ADE2-F4AB2C1CD7F1}"/>
            </c:ext>
          </c:extLst>
        </c:ser>
        <c:ser>
          <c:idx val="11"/>
          <c:order val="4"/>
          <c:tx>
            <c:strRef>
              <c:f>List1!$K$1</c:f>
              <c:strCache>
                <c:ptCount val="1"/>
                <c:pt idx="0">
                  <c:v>Maďarsko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K$2:$K$53</c:f>
              <c:numCache>
                <c:formatCode>General</c:formatCode>
                <c:ptCount val="52"/>
                <c:pt idx="0">
                  <c:v>17.421520757506556</c:v>
                </c:pt>
                <c:pt idx="1">
                  <c:v>15.190092129341792</c:v>
                </c:pt>
                <c:pt idx="2">
                  <c:v>13.296448568743253</c:v>
                </c:pt>
                <c:pt idx="3">
                  <c:v>11.556343675220271</c:v>
                </c:pt>
                <c:pt idx="4">
                  <c:v>10.635111672766929</c:v>
                </c:pt>
                <c:pt idx="5">
                  <c:v>10.287090694062332</c:v>
                </c:pt>
                <c:pt idx="6">
                  <c:v>10.67605531732041</c:v>
                </c:pt>
                <c:pt idx="7">
                  <c:v>13.398807680126959</c:v>
                </c:pt>
                <c:pt idx="8">
                  <c:v>17.534115780028632</c:v>
                </c:pt>
                <c:pt idx="9">
                  <c:v>22.498532682138315</c:v>
                </c:pt>
                <c:pt idx="10">
                  <c:v>28.619607542883863</c:v>
                </c:pt>
                <c:pt idx="11">
                  <c:v>34.904456981843332</c:v>
                </c:pt>
                <c:pt idx="12">
                  <c:v>38.272071746367224</c:v>
                </c:pt>
                <c:pt idx="13">
                  <c:v>35.15011884916423</c:v>
                </c:pt>
                <c:pt idx="14">
                  <c:v>28.650315276298972</c:v>
                </c:pt>
                <c:pt idx="15">
                  <c:v>22.273342637094164</c:v>
                </c:pt>
                <c:pt idx="16">
                  <c:v>16.623119688713658</c:v>
                </c:pt>
                <c:pt idx="17">
                  <c:v>12.283093366044577</c:v>
                </c:pt>
                <c:pt idx="18">
                  <c:v>8.6902885564765366</c:v>
                </c:pt>
                <c:pt idx="19">
                  <c:v>5.7525820597642099</c:v>
                </c:pt>
                <c:pt idx="20">
                  <c:v>3.5006816093227044</c:v>
                </c:pt>
                <c:pt idx="21">
                  <c:v>2.1393054279194303</c:v>
                </c:pt>
                <c:pt idx="22">
                  <c:v>1.4330275593718671</c:v>
                </c:pt>
                <c:pt idx="23">
                  <c:v>0.79840106879289741</c:v>
                </c:pt>
                <c:pt idx="24">
                  <c:v>0.53226737919526501</c:v>
                </c:pt>
                <c:pt idx="25">
                  <c:v>0.32754915642785537</c:v>
                </c:pt>
                <c:pt idx="26">
                  <c:v>0.18424640049066862</c:v>
                </c:pt>
                <c:pt idx="27">
                  <c:v>0.18424640049066862</c:v>
                </c:pt>
                <c:pt idx="28">
                  <c:v>9.2123200245334311E-2</c:v>
                </c:pt>
                <c:pt idx="29">
                  <c:v>7.1651377968593361E-2</c:v>
                </c:pt>
                <c:pt idx="30">
                  <c:v>0.12283093366044574</c:v>
                </c:pt>
                <c:pt idx="31">
                  <c:v>0.11259502252207527</c:v>
                </c:pt>
                <c:pt idx="32">
                  <c:v>0.17401048935229815</c:v>
                </c:pt>
                <c:pt idx="33">
                  <c:v>0.20471822276740961</c:v>
                </c:pt>
                <c:pt idx="34">
                  <c:v>0.22519004504415055</c:v>
                </c:pt>
                <c:pt idx="35">
                  <c:v>0.4810878235034125</c:v>
                </c:pt>
                <c:pt idx="36">
                  <c:v>0.73698560196267449</c:v>
                </c:pt>
                <c:pt idx="37">
                  <c:v>0.87005244676149074</c:v>
                </c:pt>
                <c:pt idx="38">
                  <c:v>1.1771297809126051</c:v>
                </c:pt>
                <c:pt idx="39">
                  <c:v>1.3613761814032739</c:v>
                </c:pt>
                <c:pt idx="40">
                  <c:v>1.8424640049066863</c:v>
                </c:pt>
                <c:pt idx="41">
                  <c:v>3.2140760974483302</c:v>
                </c:pt>
                <c:pt idx="42">
                  <c:v>5.701402504072357</c:v>
                </c:pt>
                <c:pt idx="43">
                  <c:v>9.8878901596658828</c:v>
                </c:pt>
                <c:pt idx="44">
                  <c:v>14.831835239498826</c:v>
                </c:pt>
                <c:pt idx="45">
                  <c:v>18.578178716142421</c:v>
                </c:pt>
                <c:pt idx="46">
                  <c:v>22.222163081402314</c:v>
                </c:pt>
                <c:pt idx="47">
                  <c:v>25.528362379095977</c:v>
                </c:pt>
                <c:pt idx="48">
                  <c:v>25.518126467957604</c:v>
                </c:pt>
                <c:pt idx="49">
                  <c:v>22.242634903679054</c:v>
                </c:pt>
                <c:pt idx="50">
                  <c:v>18.404168226790123</c:v>
                </c:pt>
                <c:pt idx="51">
                  <c:v>14.3814551494105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95-4FAB-ADE2-F4AB2C1CD7F1}"/>
            </c:ext>
          </c:extLst>
        </c:ser>
        <c:ser>
          <c:idx val="4"/>
          <c:order val="5"/>
          <c:tx>
            <c:strRef>
              <c:f>List1!$E$1</c:f>
              <c:strCache>
                <c:ptCount val="1"/>
                <c:pt idx="0">
                  <c:v>Německo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E$2:$E$53</c:f>
              <c:numCache>
                <c:formatCode>General</c:formatCode>
                <c:ptCount val="52"/>
                <c:pt idx="0">
                  <c:v>12.697388021031637</c:v>
                </c:pt>
                <c:pt idx="1">
                  <c:v>14.499791869850426</c:v>
                </c:pt>
                <c:pt idx="2">
                  <c:v>13.708609926873265</c:v>
                </c:pt>
                <c:pt idx="3">
                  <c:v>12.609612516719579</c:v>
                </c:pt>
                <c:pt idx="4">
                  <c:v>11.528651169095768</c:v>
                </c:pt>
                <c:pt idx="5">
                  <c:v>9.566327565845425</c:v>
                </c:pt>
                <c:pt idx="6">
                  <c:v>7.4885731624038856</c:v>
                </c:pt>
                <c:pt idx="7">
                  <c:v>6.0468905641825854</c:v>
                </c:pt>
                <c:pt idx="8">
                  <c:v>4.8468912038616025</c:v>
                </c:pt>
                <c:pt idx="9">
                  <c:v>3.9835650107649445</c:v>
                </c:pt>
                <c:pt idx="10">
                  <c:v>3.3426835888700706</c:v>
                </c:pt>
                <c:pt idx="11">
                  <c:v>2.9999984008024558</c:v>
                </c:pt>
                <c:pt idx="12">
                  <c:v>2.7643271837454289</c:v>
                </c:pt>
                <c:pt idx="13">
                  <c:v>3.0529041842234212</c:v>
                </c:pt>
                <c:pt idx="14">
                  <c:v>3.5987956767942886</c:v>
                </c:pt>
                <c:pt idx="15">
                  <c:v>3.8140260229841241</c:v>
                </c:pt>
                <c:pt idx="16">
                  <c:v>3.9318616315126373</c:v>
                </c:pt>
                <c:pt idx="17">
                  <c:v>3.8537053605498479</c:v>
                </c:pt>
                <c:pt idx="18">
                  <c:v>3.4677336224105342</c:v>
                </c:pt>
                <c:pt idx="19">
                  <c:v>3.1190364134996278</c:v>
                </c:pt>
                <c:pt idx="20">
                  <c:v>2.7438863128782378</c:v>
                </c:pt>
                <c:pt idx="21">
                  <c:v>2.1895779911267623</c:v>
                </c:pt>
                <c:pt idx="22">
                  <c:v>1.6857706444589351</c:v>
                </c:pt>
                <c:pt idx="23">
                  <c:v>1.383967198125702</c:v>
                </c:pt>
                <c:pt idx="24">
                  <c:v>1.1038070268283182</c:v>
                </c:pt>
                <c:pt idx="25">
                  <c:v>0.76472905126667812</c:v>
                </c:pt>
                <c:pt idx="26">
                  <c:v>0.56633236343805871</c:v>
                </c:pt>
                <c:pt idx="27">
                  <c:v>0.3991981839945552</c:v>
                </c:pt>
                <c:pt idx="28">
                  <c:v>0.35350682558553986</c:v>
                </c:pt>
                <c:pt idx="29">
                  <c:v>0.35711403809151476</c:v>
                </c:pt>
                <c:pt idx="30">
                  <c:v>0.30901787134518277</c:v>
                </c:pt>
                <c:pt idx="31">
                  <c:v>0.25370727958690109</c:v>
                </c:pt>
                <c:pt idx="32">
                  <c:v>0.23567121705702659</c:v>
                </c:pt>
                <c:pt idx="33">
                  <c:v>0.32344672136908242</c:v>
                </c:pt>
                <c:pt idx="34">
                  <c:v>0.44969915907820379</c:v>
                </c:pt>
                <c:pt idx="35">
                  <c:v>0.57474919261866686</c:v>
                </c:pt>
                <c:pt idx="36">
                  <c:v>0.74188337206217037</c:v>
                </c:pt>
                <c:pt idx="37">
                  <c:v>0.94388727239676462</c:v>
                </c:pt>
                <c:pt idx="38">
                  <c:v>0.98837622663712177</c:v>
                </c:pt>
                <c:pt idx="39">
                  <c:v>0.96913775993858897</c:v>
                </c:pt>
                <c:pt idx="40">
                  <c:v>1.0040074808296795</c:v>
                </c:pt>
                <c:pt idx="41">
                  <c:v>1.0917829851417353</c:v>
                </c:pt>
                <c:pt idx="42">
                  <c:v>1.3515022855719279</c:v>
                </c:pt>
                <c:pt idx="43">
                  <c:v>1.7326644070366088</c:v>
                </c:pt>
                <c:pt idx="44">
                  <c:v>2.3603193830762406</c:v>
                </c:pt>
                <c:pt idx="45">
                  <c:v>3.0853690967771947</c:v>
                </c:pt>
                <c:pt idx="46">
                  <c:v>3.8969919106215465</c:v>
                </c:pt>
                <c:pt idx="47">
                  <c:v>4.8060094621272205</c:v>
                </c:pt>
                <c:pt idx="48">
                  <c:v>5.7691352012225181</c:v>
                </c:pt>
                <c:pt idx="49">
                  <c:v>6.2897762062515605</c:v>
                </c:pt>
                <c:pt idx="50">
                  <c:v>5.4504980965280687</c:v>
                </c:pt>
                <c:pt idx="51">
                  <c:v>4.65330413270761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B95-4FAB-ADE2-F4AB2C1CD7F1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Nizozemsko</c:v>
                </c:pt>
              </c:strCache>
            </c:strRef>
          </c:tx>
          <c:spPr>
            <a:ln w="28575" cap="rnd">
              <a:solidFill>
                <a:srgbClr val="F75A1C"/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G$2:$G$53</c:f>
              <c:numCache>
                <c:formatCode>General</c:formatCode>
                <c:ptCount val="52"/>
                <c:pt idx="0">
                  <c:v>7.8643878516175567</c:v>
                </c:pt>
                <c:pt idx="1">
                  <c:v>8.2952345198946311</c:v>
                </c:pt>
                <c:pt idx="2">
                  <c:v>6.7039741583912988</c:v>
                </c:pt>
                <c:pt idx="3">
                  <c:v>5.5550497096524305</c:v>
                </c:pt>
                <c:pt idx="4">
                  <c:v>4.8714396626528034</c:v>
                </c:pt>
                <c:pt idx="5">
                  <c:v>4.6933563730982781</c:v>
                </c:pt>
                <c:pt idx="6">
                  <c:v>4.7048456175856677</c:v>
                </c:pt>
                <c:pt idx="7">
                  <c:v>4.193574237896871</c:v>
                </c:pt>
                <c:pt idx="8">
                  <c:v>3.4065609905107457</c:v>
                </c:pt>
                <c:pt idx="9">
                  <c:v>2.895289610821949</c:v>
                </c:pt>
                <c:pt idx="10">
                  <c:v>2.5506122762002885</c:v>
                </c:pt>
                <c:pt idx="11">
                  <c:v>2.2633811640155712</c:v>
                </c:pt>
                <c:pt idx="12">
                  <c:v>1.9818946740745484</c:v>
                </c:pt>
                <c:pt idx="13">
                  <c:v>1.7808328955452466</c:v>
                </c:pt>
                <c:pt idx="14">
                  <c:v>1.7176420508646089</c:v>
                </c:pt>
                <c:pt idx="15">
                  <c:v>1.619983472721805</c:v>
                </c:pt>
                <c:pt idx="16">
                  <c:v>1.4591340498983634</c:v>
                </c:pt>
                <c:pt idx="17">
                  <c:v>1.5625372502848616</c:v>
                </c:pt>
                <c:pt idx="18">
                  <c:v>1.619983472721805</c:v>
                </c:pt>
                <c:pt idx="19">
                  <c:v>1.2753061381001443</c:v>
                </c:pt>
                <c:pt idx="20">
                  <c:v>0.99381964815912138</c:v>
                </c:pt>
                <c:pt idx="21">
                  <c:v>0.76977938065504203</c:v>
                </c:pt>
                <c:pt idx="22">
                  <c:v>0.49978213520140785</c:v>
                </c:pt>
                <c:pt idx="23">
                  <c:v>0.29297573442841152</c:v>
                </c:pt>
                <c:pt idx="24">
                  <c:v>0.183827911798219</c:v>
                </c:pt>
                <c:pt idx="25">
                  <c:v>0.17233866731083031</c:v>
                </c:pt>
                <c:pt idx="26">
                  <c:v>0.1436155560923586</c:v>
                </c:pt>
                <c:pt idx="27">
                  <c:v>0.11489244487388686</c:v>
                </c:pt>
                <c:pt idx="28">
                  <c:v>0.1953171562856077</c:v>
                </c:pt>
                <c:pt idx="29">
                  <c:v>0.30446497891580021</c:v>
                </c:pt>
                <c:pt idx="30">
                  <c:v>0.39637893481490971</c:v>
                </c:pt>
                <c:pt idx="31">
                  <c:v>0.45956977949554745</c:v>
                </c:pt>
                <c:pt idx="32">
                  <c:v>0.48254826847032484</c:v>
                </c:pt>
                <c:pt idx="33">
                  <c:v>0.50552675744510223</c:v>
                </c:pt>
                <c:pt idx="34">
                  <c:v>0.48829289071401916</c:v>
                </c:pt>
                <c:pt idx="35">
                  <c:v>0.4193574237896871</c:v>
                </c:pt>
                <c:pt idx="36">
                  <c:v>0.44233591276446449</c:v>
                </c:pt>
                <c:pt idx="37">
                  <c:v>0.46531440173924177</c:v>
                </c:pt>
                <c:pt idx="38">
                  <c:v>0.39063431257121539</c:v>
                </c:pt>
                <c:pt idx="39">
                  <c:v>0.31020960115949459</c:v>
                </c:pt>
                <c:pt idx="40">
                  <c:v>0.3791450680838267</c:v>
                </c:pt>
                <c:pt idx="41">
                  <c:v>0.6319084468063777</c:v>
                </c:pt>
                <c:pt idx="42">
                  <c:v>0.93637342572217797</c:v>
                </c:pt>
                <c:pt idx="43">
                  <c:v>1.4189216941925029</c:v>
                </c:pt>
                <c:pt idx="44">
                  <c:v>1.8382791179821898</c:v>
                </c:pt>
                <c:pt idx="45">
                  <c:v>2.3208273864525149</c:v>
                </c:pt>
                <c:pt idx="46">
                  <c:v>3.3548593903174968</c:v>
                </c:pt>
                <c:pt idx="47">
                  <c:v>4.0269801928297353</c:v>
                </c:pt>
                <c:pt idx="48">
                  <c:v>4.5612300614933092</c:v>
                </c:pt>
                <c:pt idx="49">
                  <c:v>4.5784639282243917</c:v>
                </c:pt>
                <c:pt idx="50">
                  <c:v>3.4525179684603002</c:v>
                </c:pt>
                <c:pt idx="51">
                  <c:v>2.83784338838500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B95-4FAB-ADE2-F4AB2C1CD7F1}"/>
            </c:ext>
          </c:extLst>
        </c:ser>
        <c:ser>
          <c:idx val="10"/>
          <c:order val="7"/>
          <c:tx>
            <c:strRef>
              <c:f>List1!$J$1</c:f>
              <c:strCache>
                <c:ptCount val="1"/>
                <c:pt idx="0">
                  <c:v>Polsko</c:v>
                </c:pt>
              </c:strCache>
            </c:strRef>
          </c:tx>
          <c:spPr>
            <a:ln w="28575" cap="rnd">
              <a:solidFill>
                <a:srgbClr val="996633"/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J$2:$J$53</c:f>
              <c:numCache>
                <c:formatCode>General</c:formatCode>
                <c:ptCount val="52"/>
                <c:pt idx="0">
                  <c:v>10.780296968202181</c:v>
                </c:pt>
                <c:pt idx="1">
                  <c:v>11.23079324913145</c:v>
                </c:pt>
                <c:pt idx="2">
                  <c:v>11.064820935104878</c:v>
                </c:pt>
                <c:pt idx="3">
                  <c:v>10.148021486196187</c:v>
                </c:pt>
                <c:pt idx="4">
                  <c:v>9.8819388875186647</c:v>
                </c:pt>
                <c:pt idx="5">
                  <c:v>9.6079528453160687</c:v>
                </c:pt>
                <c:pt idx="6">
                  <c:v>8.1589881990523345</c:v>
                </c:pt>
                <c:pt idx="7">
                  <c:v>7.8533883827494391</c:v>
                </c:pt>
                <c:pt idx="8">
                  <c:v>8.2459260778281589</c:v>
                </c:pt>
                <c:pt idx="9">
                  <c:v>9.0072911374103768</c:v>
                </c:pt>
                <c:pt idx="10">
                  <c:v>10.651207390625958</c:v>
                </c:pt>
                <c:pt idx="11">
                  <c:v>12.474268363743237</c:v>
                </c:pt>
                <c:pt idx="12">
                  <c:v>14.932239300041536</c:v>
                </c:pt>
                <c:pt idx="13">
                  <c:v>17.324348206964206</c:v>
                </c:pt>
                <c:pt idx="14">
                  <c:v>18.762774928527843</c:v>
                </c:pt>
                <c:pt idx="15">
                  <c:v>18.472981999275095</c:v>
                </c:pt>
                <c:pt idx="16">
                  <c:v>15.949149033601175</c:v>
                </c:pt>
                <c:pt idx="17">
                  <c:v>12.181840953315465</c:v>
                </c:pt>
                <c:pt idx="18">
                  <c:v>9.5737045900407445</c:v>
                </c:pt>
                <c:pt idx="19">
                  <c:v>7.7559125792735149</c:v>
                </c:pt>
                <c:pt idx="20">
                  <c:v>5.4928932499270644</c:v>
                </c:pt>
                <c:pt idx="21">
                  <c:v>3.2509497699808141</c:v>
                </c:pt>
                <c:pt idx="22">
                  <c:v>2.2208676305460506</c:v>
                </c:pt>
                <c:pt idx="23">
                  <c:v>1.7967161613670302</c:v>
                </c:pt>
                <c:pt idx="24">
                  <c:v>1.0801372817602382</c:v>
                </c:pt>
                <c:pt idx="25">
                  <c:v>0.68233062433146752</c:v>
                </c:pt>
                <c:pt idx="26">
                  <c:v>0.48737901737961964</c:v>
                </c:pt>
                <c:pt idx="27">
                  <c:v>0.35302047745334614</c:v>
                </c:pt>
                <c:pt idx="28">
                  <c:v>0.21602745635204759</c:v>
                </c:pt>
                <c:pt idx="29">
                  <c:v>0.12908957757622355</c:v>
                </c:pt>
                <c:pt idx="30">
                  <c:v>0.12645509640119862</c:v>
                </c:pt>
                <c:pt idx="31">
                  <c:v>0.11328269052607376</c:v>
                </c:pt>
                <c:pt idx="32">
                  <c:v>8.9572359950849015E-2</c:v>
                </c:pt>
                <c:pt idx="33">
                  <c:v>0.1080137281760238</c:v>
                </c:pt>
                <c:pt idx="34">
                  <c:v>0.16070335167652322</c:v>
                </c:pt>
                <c:pt idx="35">
                  <c:v>0.21866193752707258</c:v>
                </c:pt>
                <c:pt idx="36">
                  <c:v>0.28452396690269688</c:v>
                </c:pt>
                <c:pt idx="37">
                  <c:v>0.38463425155364572</c:v>
                </c:pt>
                <c:pt idx="38">
                  <c:v>0.545337603230169</c:v>
                </c:pt>
                <c:pt idx="39">
                  <c:v>0.78244090898241636</c:v>
                </c:pt>
                <c:pt idx="40">
                  <c:v>1.1064820935104878</c:v>
                </c:pt>
                <c:pt idx="41">
                  <c:v>1.5227301191644331</c:v>
                </c:pt>
                <c:pt idx="42">
                  <c:v>2.3657640951724237</c:v>
                </c:pt>
                <c:pt idx="43">
                  <c:v>3.4643427451578366</c:v>
                </c:pt>
                <c:pt idx="44">
                  <c:v>4.9185763537716207</c:v>
                </c:pt>
                <c:pt idx="45">
                  <c:v>8.1431813120021843</c:v>
                </c:pt>
                <c:pt idx="46">
                  <c:v>11.062186453929852</c:v>
                </c:pt>
                <c:pt idx="47">
                  <c:v>12.829923322371609</c:v>
                </c:pt>
                <c:pt idx="48">
                  <c:v>14.365825847411168</c:v>
                </c:pt>
                <c:pt idx="49">
                  <c:v>15.319508032770205</c:v>
                </c:pt>
                <c:pt idx="50">
                  <c:v>15.398542468020954</c:v>
                </c:pt>
                <c:pt idx="51">
                  <c:v>16.0835075735274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B95-4FAB-ADE2-F4AB2C1CD7F1}"/>
            </c:ext>
          </c:extLst>
        </c:ser>
        <c:ser>
          <c:idx val="1"/>
          <c:order val="8"/>
          <c:tx>
            <c:strRef>
              <c:f>List1!$B$1</c:f>
              <c:strCache>
                <c:ptCount val="1"/>
                <c:pt idx="0">
                  <c:v>Rakousko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B$2:$B$53</c:f>
              <c:numCache>
                <c:formatCode>General</c:formatCode>
                <c:ptCount val="52"/>
                <c:pt idx="0">
                  <c:v>8.3585512922949441</c:v>
                </c:pt>
                <c:pt idx="1">
                  <c:v>7.9428706500705983</c:v>
                </c:pt>
                <c:pt idx="2">
                  <c:v>7.3811400524701307</c:v>
                </c:pt>
                <c:pt idx="3">
                  <c:v>6.617186439733497</c:v>
                </c:pt>
                <c:pt idx="4">
                  <c:v>5.7521213194287784</c:v>
                </c:pt>
                <c:pt idx="5">
                  <c:v>4.493844780803733</c:v>
                </c:pt>
                <c:pt idx="6">
                  <c:v>3.7186565561150888</c:v>
                </c:pt>
                <c:pt idx="7">
                  <c:v>3.347914361698781</c:v>
                </c:pt>
                <c:pt idx="8">
                  <c:v>3.134456734610604</c:v>
                </c:pt>
                <c:pt idx="9">
                  <c:v>3.2692720780347155</c:v>
                </c:pt>
                <c:pt idx="10">
                  <c:v>3.8422372875871917</c:v>
                </c:pt>
                <c:pt idx="11">
                  <c:v>4.0444603027233601</c:v>
                </c:pt>
                <c:pt idx="12">
                  <c:v>4.403967885187658</c:v>
                </c:pt>
                <c:pt idx="13">
                  <c:v>4.7410062437479379</c:v>
                </c:pt>
                <c:pt idx="14">
                  <c:v>4.5949562883718169</c:v>
                </c:pt>
                <c:pt idx="15">
                  <c:v>4.0781641385793872</c:v>
                </c:pt>
                <c:pt idx="16">
                  <c:v>3.5501373768349493</c:v>
                </c:pt>
                <c:pt idx="17">
                  <c:v>3.0108760031385011</c:v>
                </c:pt>
                <c:pt idx="18">
                  <c:v>2.1458108828337825</c:v>
                </c:pt>
                <c:pt idx="19">
                  <c:v>1.4829687776652321</c:v>
                </c:pt>
                <c:pt idx="20">
                  <c:v>1.112226583248924</c:v>
                </c:pt>
                <c:pt idx="21">
                  <c:v>0.87629973225672797</c:v>
                </c:pt>
                <c:pt idx="22">
                  <c:v>0.61790365736051334</c:v>
                </c:pt>
                <c:pt idx="23">
                  <c:v>0.41568064222434531</c:v>
                </c:pt>
                <c:pt idx="24">
                  <c:v>0.30333452270425199</c:v>
                </c:pt>
                <c:pt idx="25">
                  <c:v>0.23592685099219599</c:v>
                </c:pt>
                <c:pt idx="26">
                  <c:v>0.12358073147210266</c:v>
                </c:pt>
                <c:pt idx="27">
                  <c:v>6.7407671712056E-2</c:v>
                </c:pt>
                <c:pt idx="28">
                  <c:v>0.10111150756808399</c:v>
                </c:pt>
                <c:pt idx="29">
                  <c:v>0.10111150756808399</c:v>
                </c:pt>
                <c:pt idx="30">
                  <c:v>0.14604995537612134</c:v>
                </c:pt>
                <c:pt idx="31">
                  <c:v>0.19098840318415863</c:v>
                </c:pt>
                <c:pt idx="32">
                  <c:v>0.16851917928013999</c:v>
                </c:pt>
                <c:pt idx="33">
                  <c:v>0.38197680636831727</c:v>
                </c:pt>
                <c:pt idx="34">
                  <c:v>0.71901516492859729</c:v>
                </c:pt>
                <c:pt idx="35">
                  <c:v>0.84259589640069998</c:v>
                </c:pt>
                <c:pt idx="36">
                  <c:v>1.145930419104952</c:v>
                </c:pt>
                <c:pt idx="37">
                  <c:v>1.4717341657132226</c:v>
                </c:pt>
                <c:pt idx="38">
                  <c:v>1.3818572700971479</c:v>
                </c:pt>
                <c:pt idx="39">
                  <c:v>1.3144495983850919</c:v>
                </c:pt>
                <c:pt idx="40">
                  <c:v>1.550376449377288</c:v>
                </c:pt>
                <c:pt idx="41">
                  <c:v>1.6851917928014</c:v>
                </c:pt>
                <c:pt idx="42">
                  <c:v>1.8424763601295304</c:v>
                </c:pt>
                <c:pt idx="43">
                  <c:v>2.6963068684822398</c:v>
                </c:pt>
                <c:pt idx="44">
                  <c:v>4.6286601242278458</c:v>
                </c:pt>
                <c:pt idx="45">
                  <c:v>6.3924942006933101</c:v>
                </c:pt>
                <c:pt idx="46">
                  <c:v>7.7968206946944765</c:v>
                </c:pt>
                <c:pt idx="47">
                  <c:v>8.5944781432871409</c:v>
                </c:pt>
                <c:pt idx="48">
                  <c:v>7.5945976795583094</c:v>
                </c:pt>
                <c:pt idx="49">
                  <c:v>5.6959482596687314</c:v>
                </c:pt>
                <c:pt idx="50">
                  <c:v>3.4265566453628469</c:v>
                </c:pt>
                <c:pt idx="51">
                  <c:v>1.99976092745766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B95-4FAB-ADE2-F4AB2C1CD7F1}"/>
            </c:ext>
          </c:extLst>
        </c:ser>
        <c:ser>
          <c:idx val="12"/>
          <c:order val="9"/>
          <c:tx>
            <c:strRef>
              <c:f>List1!$L$1</c:f>
              <c:strCache>
                <c:ptCount val="1"/>
                <c:pt idx="0">
                  <c:v>Slovensk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L$2:$L$53</c:f>
              <c:numCache>
                <c:formatCode>General</c:formatCode>
                <c:ptCount val="52"/>
                <c:pt idx="0">
                  <c:v>20.502492454478148</c:v>
                </c:pt>
                <c:pt idx="1">
                  <c:v>18.9451092027975</c:v>
                </c:pt>
                <c:pt idx="2">
                  <c:v>21.21705653466103</c:v>
                </c:pt>
                <c:pt idx="3">
                  <c:v>21.015512819737651</c:v>
                </c:pt>
                <c:pt idx="4">
                  <c:v>20.557458922184519</c:v>
                </c:pt>
                <c:pt idx="5">
                  <c:v>23.434037398818184</c:v>
                </c:pt>
                <c:pt idx="6">
                  <c:v>23.617258957839436</c:v>
                </c:pt>
                <c:pt idx="7">
                  <c:v>24.276856570315946</c:v>
                </c:pt>
                <c:pt idx="8">
                  <c:v>25.02806496230308</c:v>
                </c:pt>
                <c:pt idx="9">
                  <c:v>23.470681710622433</c:v>
                </c:pt>
                <c:pt idx="10">
                  <c:v>21.125445755150402</c:v>
                </c:pt>
                <c:pt idx="11">
                  <c:v>17.497658886529607</c:v>
                </c:pt>
                <c:pt idx="12">
                  <c:v>17.699202601452985</c:v>
                </c:pt>
                <c:pt idx="13">
                  <c:v>20.007794245120767</c:v>
                </c:pt>
                <c:pt idx="14">
                  <c:v>19.934505621512265</c:v>
                </c:pt>
                <c:pt idx="15">
                  <c:v>15.683765452219207</c:v>
                </c:pt>
                <c:pt idx="16">
                  <c:v>11.194837256198523</c:v>
                </c:pt>
                <c:pt idx="17">
                  <c:v>9.2526887305732473</c:v>
                </c:pt>
                <c:pt idx="18">
                  <c:v>7.2006072695352197</c:v>
                </c:pt>
                <c:pt idx="19">
                  <c:v>4.1041629220760543</c:v>
                </c:pt>
                <c:pt idx="20">
                  <c:v>1.9238263697231506</c:v>
                </c:pt>
                <c:pt idx="21">
                  <c:v>2.2353030200592792</c:v>
                </c:pt>
                <c:pt idx="22">
                  <c:v>1.7039604988976476</c:v>
                </c:pt>
                <c:pt idx="23">
                  <c:v>1.447450316267894</c:v>
                </c:pt>
                <c:pt idx="24">
                  <c:v>1.1726179777360155</c:v>
                </c:pt>
                <c:pt idx="25">
                  <c:v>0.21986587082550288</c:v>
                </c:pt>
                <c:pt idx="26">
                  <c:v>0.21986587082550288</c:v>
                </c:pt>
                <c:pt idx="27">
                  <c:v>0.31147665033612915</c:v>
                </c:pt>
                <c:pt idx="28">
                  <c:v>0.21986587082550288</c:v>
                </c:pt>
                <c:pt idx="29">
                  <c:v>0.18322155902125242</c:v>
                </c:pt>
                <c:pt idx="30">
                  <c:v>0.16489940311912718</c:v>
                </c:pt>
                <c:pt idx="31">
                  <c:v>9.1610779510626211E-2</c:v>
                </c:pt>
                <c:pt idx="32">
                  <c:v>7.3288623608500969E-2</c:v>
                </c:pt>
                <c:pt idx="33">
                  <c:v>3.6644311804250485E-2</c:v>
                </c:pt>
                <c:pt idx="34">
                  <c:v>9.1610779510626211E-2</c:v>
                </c:pt>
                <c:pt idx="35">
                  <c:v>0.25651018262975339</c:v>
                </c:pt>
                <c:pt idx="36">
                  <c:v>0.51302036525950678</c:v>
                </c:pt>
                <c:pt idx="37">
                  <c:v>0.80617485969351066</c:v>
                </c:pt>
                <c:pt idx="38">
                  <c:v>2.0154371492337768</c:v>
                </c:pt>
                <c:pt idx="39">
                  <c:v>2.6750347617102852</c:v>
                </c:pt>
                <c:pt idx="40">
                  <c:v>3.1880551269697919</c:v>
                </c:pt>
                <c:pt idx="41">
                  <c:v>3.352954530088919</c:v>
                </c:pt>
                <c:pt idx="42">
                  <c:v>3.884297051250551</c:v>
                </c:pt>
                <c:pt idx="43">
                  <c:v>6.9440970869054661</c:v>
                </c:pt>
                <c:pt idx="44">
                  <c:v>10.406984552407136</c:v>
                </c:pt>
                <c:pt idx="45">
                  <c:v>12.294166610326036</c:v>
                </c:pt>
                <c:pt idx="46">
                  <c:v>14.181348668244938</c:v>
                </c:pt>
                <c:pt idx="47">
                  <c:v>18.67027686426562</c:v>
                </c:pt>
                <c:pt idx="48">
                  <c:v>20.117727180533517</c:v>
                </c:pt>
                <c:pt idx="49">
                  <c:v>20.612425389890898</c:v>
                </c:pt>
                <c:pt idx="50">
                  <c:v>17.259470859801979</c:v>
                </c:pt>
                <c:pt idx="51">
                  <c:v>12.0559785835984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B95-4FAB-ADE2-F4AB2C1CD7F1}"/>
            </c:ext>
          </c:extLst>
        </c:ser>
        <c:ser>
          <c:idx val="0"/>
          <c:order val="10"/>
          <c:tx>
            <c:strRef>
              <c:f>List1!$M$1</c:f>
              <c:strCache>
                <c:ptCount val="1"/>
                <c:pt idx="0">
                  <c:v>Španělsk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List1!$M$2:$M$53</c:f>
              <c:numCache>
                <c:formatCode>General</c:formatCode>
                <c:ptCount val="52"/>
                <c:pt idx="0">
                  <c:v>6.0423453477553553</c:v>
                </c:pt>
                <c:pt idx="1">
                  <c:v>8.180406009268788</c:v>
                </c:pt>
                <c:pt idx="2">
                  <c:v>12.036098407749041</c:v>
                </c:pt>
                <c:pt idx="3">
                  <c:v>15.15868107347716</c:v>
                </c:pt>
                <c:pt idx="4">
                  <c:v>14.852338389762291</c:v>
                </c:pt>
                <c:pt idx="5">
                  <c:v>12.000182368968678</c:v>
                </c:pt>
                <c:pt idx="6">
                  <c:v>8.687455968520986</c:v>
                </c:pt>
                <c:pt idx="7">
                  <c:v>6.3064338681992087</c:v>
                </c:pt>
                <c:pt idx="8">
                  <c:v>4.7071137883912346</c:v>
                </c:pt>
                <c:pt idx="9">
                  <c:v>3.435263473933639</c:v>
                </c:pt>
                <c:pt idx="10">
                  <c:v>2.7127172819992578</c:v>
                </c:pt>
                <c:pt idx="11">
                  <c:v>2.2944010656161944</c:v>
                </c:pt>
                <c:pt idx="12">
                  <c:v>2.1887656574386534</c:v>
                </c:pt>
                <c:pt idx="13">
                  <c:v>2.2817248166348896</c:v>
                </c:pt>
                <c:pt idx="14">
                  <c:v>2.3366552288872109</c:v>
                </c:pt>
                <c:pt idx="15">
                  <c:v>2.2627104431629319</c:v>
                </c:pt>
                <c:pt idx="16">
                  <c:v>1.9986219227190791</c:v>
                </c:pt>
                <c:pt idx="17">
                  <c:v>1.8380561022892166</c:v>
                </c:pt>
                <c:pt idx="18">
                  <c:v>1.6436869512425405</c:v>
                </c:pt>
                <c:pt idx="19">
                  <c:v>1.2633994818033925</c:v>
                </c:pt>
                <c:pt idx="20">
                  <c:v>0.93381700828946401</c:v>
                </c:pt>
                <c:pt idx="21">
                  <c:v>0.81761805929416875</c:v>
                </c:pt>
                <c:pt idx="22">
                  <c:v>0.72888431642503415</c:v>
                </c:pt>
                <c:pt idx="23">
                  <c:v>0.54930412252321414</c:v>
                </c:pt>
                <c:pt idx="24">
                  <c:v>0.49014829394379106</c:v>
                </c:pt>
                <c:pt idx="25">
                  <c:v>0.41831621638306304</c:v>
                </c:pt>
                <c:pt idx="26">
                  <c:v>0.36127309596719082</c:v>
                </c:pt>
                <c:pt idx="27">
                  <c:v>0.49859912659799438</c:v>
                </c:pt>
                <c:pt idx="28">
                  <c:v>1.0500159572847592</c:v>
                </c:pt>
                <c:pt idx="29">
                  <c:v>1.8148163124901573</c:v>
                </c:pt>
                <c:pt idx="30">
                  <c:v>2.4169381391021423</c:v>
                </c:pt>
                <c:pt idx="31">
                  <c:v>2.9028610167188313</c:v>
                </c:pt>
                <c:pt idx="32">
                  <c:v>2.9894820514244151</c:v>
                </c:pt>
                <c:pt idx="33">
                  <c:v>2.657786869746936</c:v>
                </c:pt>
                <c:pt idx="34">
                  <c:v>2.3070773145974992</c:v>
                </c:pt>
                <c:pt idx="35">
                  <c:v>1.8950992227050889</c:v>
                </c:pt>
                <c:pt idx="36">
                  <c:v>1.5274880022472455</c:v>
                </c:pt>
                <c:pt idx="37">
                  <c:v>1.1810038634249103</c:v>
                </c:pt>
                <c:pt idx="38">
                  <c:v>0.84719597358388032</c:v>
                </c:pt>
                <c:pt idx="39">
                  <c:v>0.65282682253720448</c:v>
                </c:pt>
                <c:pt idx="40">
                  <c:v>0.5302897490512567</c:v>
                </c:pt>
                <c:pt idx="41">
                  <c:v>0.49226100210734192</c:v>
                </c:pt>
                <c:pt idx="42">
                  <c:v>0.46479579598118115</c:v>
                </c:pt>
                <c:pt idx="43">
                  <c:v>0.40352725923820726</c:v>
                </c:pt>
                <c:pt idx="44">
                  <c:v>0.49437371027089266</c:v>
                </c:pt>
                <c:pt idx="45">
                  <c:v>0.59789641028488305</c:v>
                </c:pt>
                <c:pt idx="46">
                  <c:v>0.60634724293908637</c:v>
                </c:pt>
                <c:pt idx="47">
                  <c:v>0.78804014500445729</c:v>
                </c:pt>
                <c:pt idx="48">
                  <c:v>1.0331142919763527</c:v>
                </c:pt>
                <c:pt idx="49">
                  <c:v>1.2803011471117989</c:v>
                </c:pt>
                <c:pt idx="50">
                  <c:v>1.4408669675416617</c:v>
                </c:pt>
                <c:pt idx="51">
                  <c:v>1.21058177771462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F-4F0F-9F24-6EADCC764DFA}"/>
            </c:ext>
          </c:extLst>
        </c:ser>
        <c:ser>
          <c:idx val="8"/>
          <c:order val="11"/>
          <c:tx>
            <c:strRef>
              <c:f>List1!$H$1</c:f>
              <c:strCache>
                <c:ptCount val="1"/>
                <c:pt idx="0">
                  <c:v>Velká Británi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53</c:f>
              <c:strCache>
                <c:ptCount val="52"/>
                <c:pt idx="0">
                  <c:v>1. týden</c:v>
                </c:pt>
                <c:pt idx="1">
                  <c:v>2. týden</c:v>
                </c:pt>
                <c:pt idx="2">
                  <c:v>3. týden</c:v>
                </c:pt>
                <c:pt idx="3">
                  <c:v>4. týden</c:v>
                </c:pt>
                <c:pt idx="4">
                  <c:v>5. týden</c:v>
                </c:pt>
                <c:pt idx="5">
                  <c:v>6. týden</c:v>
                </c:pt>
                <c:pt idx="6">
                  <c:v>7. týden</c:v>
                </c:pt>
                <c:pt idx="7">
                  <c:v>8. týden</c:v>
                </c:pt>
                <c:pt idx="8">
                  <c:v>9. týden</c:v>
                </c:pt>
                <c:pt idx="9">
                  <c:v>10. týden</c:v>
                </c:pt>
                <c:pt idx="10">
                  <c:v>11. týden</c:v>
                </c:pt>
                <c:pt idx="11">
                  <c:v>12. týden</c:v>
                </c:pt>
                <c:pt idx="12">
                  <c:v>13. týden</c:v>
                </c:pt>
                <c:pt idx="13">
                  <c:v>14. týden</c:v>
                </c:pt>
                <c:pt idx="14">
                  <c:v>15. týden</c:v>
                </c:pt>
                <c:pt idx="15">
                  <c:v>16. týden</c:v>
                </c:pt>
                <c:pt idx="16">
                  <c:v>17. týden</c:v>
                </c:pt>
                <c:pt idx="17">
                  <c:v>18. týden</c:v>
                </c:pt>
                <c:pt idx="18">
                  <c:v>19. týden</c:v>
                </c:pt>
                <c:pt idx="19">
                  <c:v>20. týden</c:v>
                </c:pt>
                <c:pt idx="20">
                  <c:v>21. týden</c:v>
                </c:pt>
                <c:pt idx="21">
                  <c:v>22. týden</c:v>
                </c:pt>
                <c:pt idx="22">
                  <c:v>23. týden</c:v>
                </c:pt>
                <c:pt idx="23">
                  <c:v>24. týden</c:v>
                </c:pt>
                <c:pt idx="24">
                  <c:v>25. týden</c:v>
                </c:pt>
                <c:pt idx="25">
                  <c:v>26. týden</c:v>
                </c:pt>
                <c:pt idx="26">
                  <c:v>27. týden</c:v>
                </c:pt>
                <c:pt idx="27">
                  <c:v>28. týden</c:v>
                </c:pt>
                <c:pt idx="28">
                  <c:v>29. týden</c:v>
                </c:pt>
                <c:pt idx="29">
                  <c:v>30. týden</c:v>
                </c:pt>
                <c:pt idx="30">
                  <c:v>31. týden</c:v>
                </c:pt>
                <c:pt idx="31">
                  <c:v>32. týden</c:v>
                </c:pt>
                <c:pt idx="32">
                  <c:v>33. týden</c:v>
                </c:pt>
                <c:pt idx="33">
                  <c:v>34. týden</c:v>
                </c:pt>
                <c:pt idx="34">
                  <c:v>35. týden</c:v>
                </c:pt>
                <c:pt idx="35">
                  <c:v>36. týden</c:v>
                </c:pt>
                <c:pt idx="36">
                  <c:v>37. týden</c:v>
                </c:pt>
                <c:pt idx="37">
                  <c:v>38. týden</c:v>
                </c:pt>
                <c:pt idx="38">
                  <c:v>39. týden</c:v>
                </c:pt>
                <c:pt idx="39">
                  <c:v>40. týden</c:v>
                </c:pt>
                <c:pt idx="40">
                  <c:v>41. týden</c:v>
                </c:pt>
                <c:pt idx="41">
                  <c:v>42. týden</c:v>
                </c:pt>
                <c:pt idx="42">
                  <c:v>43. týden</c:v>
                </c:pt>
                <c:pt idx="43">
                  <c:v>44. týden</c:v>
                </c:pt>
                <c:pt idx="44">
                  <c:v>45. týden</c:v>
                </c:pt>
                <c:pt idx="45">
                  <c:v>46. týden</c:v>
                </c:pt>
                <c:pt idx="46">
                  <c:v>47. týden</c:v>
                </c:pt>
                <c:pt idx="47">
                  <c:v>48. týden</c:v>
                </c:pt>
                <c:pt idx="48">
                  <c:v>49. týden</c:v>
                </c:pt>
                <c:pt idx="49">
                  <c:v>50. týden</c:v>
                </c:pt>
                <c:pt idx="50">
                  <c:v>51. týden</c:v>
                </c:pt>
                <c:pt idx="51">
                  <c:v>52. týden</c:v>
                </c:pt>
              </c:strCache>
            </c:strRef>
          </c:cat>
          <c:val>
            <c:numRef>
              <c:f>List1!$H$2:$H$53</c:f>
              <c:numCache>
                <c:formatCode>General</c:formatCode>
                <c:ptCount val="52"/>
                <c:pt idx="0">
                  <c:v>15.166060501767392</c:v>
                </c:pt>
                <c:pt idx="1">
                  <c:v>20.918349483013209</c:v>
                </c:pt>
                <c:pt idx="2">
                  <c:v>24.255117880563468</c:v>
                </c:pt>
                <c:pt idx="3">
                  <c:v>24.826673541790704</c:v>
                </c:pt>
                <c:pt idx="4">
                  <c:v>21.832250823073213</c:v>
                </c:pt>
                <c:pt idx="5">
                  <c:v>16.173996706399482</c:v>
                </c:pt>
                <c:pt idx="6">
                  <c:v>11.43405181406257</c:v>
                </c:pt>
                <c:pt idx="7">
                  <c:v>8.3500021150498061</c:v>
                </c:pt>
                <c:pt idx="8">
                  <c:v>5.7611047497994523</c:v>
                </c:pt>
                <c:pt idx="9">
                  <c:v>3.9186091220900638</c:v>
                </c:pt>
                <c:pt idx="10">
                  <c:v>2.4302135312849513</c:v>
                </c:pt>
                <c:pt idx="11">
                  <c:v>1.5809611606182634</c:v>
                </c:pt>
                <c:pt idx="12">
                  <c:v>1.0005897308373952</c:v>
                </c:pt>
                <c:pt idx="13">
                  <c:v>0.7464017375409645</c:v>
                </c:pt>
                <c:pt idx="14">
                  <c:v>0.63767392537948542</c:v>
                </c:pt>
                <c:pt idx="15">
                  <c:v>0.48192868093196134</c:v>
                </c:pt>
                <c:pt idx="16">
                  <c:v>0.39377099539562693</c:v>
                </c:pt>
                <c:pt idx="17">
                  <c:v>0.26006517233218646</c:v>
                </c:pt>
                <c:pt idx="18">
                  <c:v>0.20717056101038583</c:v>
                </c:pt>
                <c:pt idx="19">
                  <c:v>0.17043819203691316</c:v>
                </c:pt>
                <c:pt idx="20">
                  <c:v>0.14986806541176848</c:v>
                </c:pt>
                <c:pt idx="21">
                  <c:v>0.17484607631372986</c:v>
                </c:pt>
                <c:pt idx="22">
                  <c:v>0.1807232553494855</c:v>
                </c:pt>
                <c:pt idx="23">
                  <c:v>0.19982408721569125</c:v>
                </c:pt>
                <c:pt idx="24">
                  <c:v>0.28798177275202563</c:v>
                </c:pt>
                <c:pt idx="25">
                  <c:v>0.37467016352942117</c:v>
                </c:pt>
                <c:pt idx="26">
                  <c:v>0.47752079665514463</c:v>
                </c:pt>
                <c:pt idx="27">
                  <c:v>0.70085360001385844</c:v>
                </c:pt>
                <c:pt idx="28">
                  <c:v>1.0769930583022185</c:v>
                </c:pt>
                <c:pt idx="29">
                  <c:v>1.4854570012872343</c:v>
                </c:pt>
                <c:pt idx="30">
                  <c:v>1.76021512120881</c:v>
                </c:pt>
                <c:pt idx="31">
                  <c:v>1.8131097325306105</c:v>
                </c:pt>
                <c:pt idx="32">
                  <c:v>1.8865744704775558</c:v>
                </c:pt>
                <c:pt idx="33">
                  <c:v>2.1804334222653372</c:v>
                </c:pt>
                <c:pt idx="34">
                  <c:v>2.3347093719539225</c:v>
                </c:pt>
                <c:pt idx="35">
                  <c:v>2.5903666600092921</c:v>
                </c:pt>
                <c:pt idx="36">
                  <c:v>2.9003878541454013</c:v>
                </c:pt>
                <c:pt idx="37">
                  <c:v>2.8915720855917679</c:v>
                </c:pt>
                <c:pt idx="38">
                  <c:v>2.5712658281430865</c:v>
                </c:pt>
                <c:pt idx="39">
                  <c:v>2.3405865509896784</c:v>
                </c:pt>
                <c:pt idx="40">
                  <c:v>2.3964197518293564</c:v>
                </c:pt>
                <c:pt idx="41">
                  <c:v>2.6035903128397422</c:v>
                </c:pt>
                <c:pt idx="42">
                  <c:v>3.0091156663068808</c:v>
                </c:pt>
                <c:pt idx="43">
                  <c:v>3.3382376923091952</c:v>
                </c:pt>
                <c:pt idx="44">
                  <c:v>3.3294219237555622</c:v>
                </c:pt>
                <c:pt idx="45">
                  <c:v>3.1178434784683597</c:v>
                </c:pt>
                <c:pt idx="46">
                  <c:v>2.7578662625283275</c:v>
                </c:pt>
                <c:pt idx="47">
                  <c:v>2.465476605499485</c:v>
                </c:pt>
                <c:pt idx="48">
                  <c:v>2.4449064788743402</c:v>
                </c:pt>
                <c:pt idx="49">
                  <c:v>2.36997244616845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B95-4FAB-ADE2-F4AB2C1CD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60982784"/>
        <c:axId val="400481576"/>
      </c:lineChart>
      <c:catAx>
        <c:axId val="3609827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0481576"/>
        <c:crosses val="autoZero"/>
        <c:auto val="1"/>
        <c:lblAlgn val="ctr"/>
        <c:lblOffset val="100"/>
        <c:tickLblSkip val="1"/>
        <c:noMultiLvlLbl val="1"/>
      </c:catAx>
      <c:valAx>
        <c:axId val="4004815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609827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4275707643454352"/>
          <c:y val="1.4875792985185116E-2"/>
          <c:w val="0.70125514621668827"/>
          <c:h val="0.139800242697976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1.01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20046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179634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49157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30486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327156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119791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716771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345406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662228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658201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18983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900326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100226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028626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320446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341427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278952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80264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02535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80297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80426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25754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67087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03640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47507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8.png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6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2.svg"/><Relationship Id="rId4" Type="http://schemas.openxmlformats.org/officeDocument/2006/relationships/image" Target="../media/image10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8.png"/><Relationship Id="rId4" Type="http://schemas.openxmlformats.org/officeDocument/2006/relationships/image" Target="../media/image5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4350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4628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262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29773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4159AF-26F1-42E1-BF83-F89C20A19403}" type="datetimeFigureOut">
              <a:rPr lang="cs-CZ" smtClean="0"/>
              <a:t>11.01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379503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5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9" r:id="rId3"/>
    <p:sldLayoutId id="2147483657" r:id="rId4"/>
    <p:sldLayoutId id="2147483662" r:id="rId5"/>
    <p:sldLayoutId id="2147483661" r:id="rId6"/>
    <p:sldLayoutId id="2147483660" r:id="rId7"/>
    <p:sldLayoutId id="2147483658" r:id="rId8"/>
    <p:sldLayoutId id="2147483665" r:id="rId9"/>
    <p:sldLayoutId id="2147483666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1.xml"/><Relationship Id="rId4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notesSlide" Target="../notesSlides/notesSlide7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chart" Target="../charts/chart5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3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tags" Target="../tags/tag33.xml"/><Relationship Id="rId7" Type="http://schemas.openxmlformats.org/officeDocument/2006/relationships/notesSlide" Target="../notesSlides/notesSlide9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35.xml"/><Relationship Id="rId4" Type="http://schemas.openxmlformats.org/officeDocument/2006/relationships/tags" Target="../tags/tag3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chart" Target="../charts/chart7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3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chart" Target="../charts/chart8.xml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5" Type="http://schemas.openxmlformats.org/officeDocument/2006/relationships/tags" Target="../tags/tag56.xml"/><Relationship Id="rId10" Type="http://schemas.openxmlformats.org/officeDocument/2006/relationships/chart" Target="../charts/chart9.xml"/><Relationship Id="rId4" Type="http://schemas.openxmlformats.org/officeDocument/2006/relationships/tags" Target="../tags/tag55.xml"/><Relationship Id="rId9" Type="http://schemas.openxmlformats.org/officeDocument/2006/relationships/notesSlide" Target="../notesSlides/notesSlide15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5" Type="http://schemas.openxmlformats.org/officeDocument/2006/relationships/tags" Target="../tags/tag63.xml"/><Relationship Id="rId10" Type="http://schemas.openxmlformats.org/officeDocument/2006/relationships/chart" Target="../charts/chart10.xml"/><Relationship Id="rId4" Type="http://schemas.openxmlformats.org/officeDocument/2006/relationships/tags" Target="../tags/tag62.xml"/><Relationship Id="rId9" Type="http://schemas.openxmlformats.org/officeDocument/2006/relationships/notesSlide" Target="../notesSlides/notesSlide1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7" Type="http://schemas.openxmlformats.org/officeDocument/2006/relationships/chart" Target="../charts/chart11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69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7" Type="http://schemas.openxmlformats.org/officeDocument/2006/relationships/chart" Target="../charts/chart12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7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chart" Target="../charts/chart13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8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chart" Target="../charts/chart14.xml"/><Relationship Id="rId5" Type="http://schemas.openxmlformats.org/officeDocument/2006/relationships/notesSlide" Target="../notesSlides/notesSlide22.xml"/><Relationship Id="rId4" Type="http://schemas.openxmlformats.org/officeDocument/2006/relationships/slideLayout" Target="../slideLayouts/slideLayout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7" Type="http://schemas.openxmlformats.org/officeDocument/2006/relationships/chart" Target="../charts/chart15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notesSlide" Target="../notesSlides/notesSlide23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9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5" Type="http://schemas.openxmlformats.org/officeDocument/2006/relationships/notesSlide" Target="../notesSlides/notesSlide24.xml"/><Relationship Id="rId4" Type="http://schemas.openxmlformats.org/officeDocument/2006/relationships/slideLayout" Target="../slideLayouts/slideLayout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chart" Target="../charts/chart16.xml"/><Relationship Id="rId5" Type="http://schemas.openxmlformats.org/officeDocument/2006/relationships/notesSlide" Target="../notesSlides/notesSlide25.xml"/><Relationship Id="rId4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chart" Target="../charts/chart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10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13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15.xml"/><Relationship Id="rId4" Type="http://schemas.openxmlformats.org/officeDocument/2006/relationships/tags" Target="../tags/tag1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tags" Target="../tags/tag18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20.xml"/><Relationship Id="rId4" Type="http://schemas.openxmlformats.org/officeDocument/2006/relationships/tags" Target="../tags/tag1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800" dirty="0">
                <a:latin typeface="+mj-lt"/>
              </a:rPr>
              <a:t>Hodnocení pandemie COVID-19 </a:t>
            </a:r>
            <a:br>
              <a:rPr lang="cs-CZ" sz="4800" dirty="0">
                <a:latin typeface="+mj-lt"/>
              </a:rPr>
            </a:br>
            <a:r>
              <a:rPr lang="cs-CZ" sz="48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240535" y="3766261"/>
            <a:ext cx="9553575" cy="1964740"/>
          </a:xfrm>
        </p:spPr>
        <p:txBody>
          <a:bodyPr>
            <a:normAutofit/>
          </a:bodyPr>
          <a:lstStyle/>
          <a:p>
            <a:r>
              <a:rPr lang="cs-CZ" sz="4800" b="1" dirty="0"/>
              <a:t>Vybrané ukazatele šíření epidemie s časovými trendy </a:t>
            </a:r>
          </a:p>
        </p:txBody>
      </p:sp>
    </p:spTree>
    <p:extLst>
      <p:ext uri="{BB962C8B-B14F-4D97-AF65-F5344CB8AC3E}">
        <p14:creationId xmlns:p14="http://schemas.microsoft.com/office/powerpoint/2010/main" val="33381038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čet provedených testů v zemích EU a EHP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C66940E7-7FB6-4DE9-901E-890A319BC4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16746" y="714892"/>
            <a:ext cx="8627762" cy="6091200"/>
          </a:xfrm>
          <a:prstGeom prst="rect">
            <a:avLst/>
          </a:prstGeom>
        </p:spPr>
      </p:pic>
      <p:sp>
        <p:nvSpPr>
          <p:cNvPr id="5" name="TextovéPole 4">
            <a:extLst>
              <a:ext uri="{FF2B5EF4-FFF2-40B4-BE49-F238E27FC236}">
                <a16:creationId xmlns:a16="http://schemas.microsoft.com/office/drawing/2014/main" id="{46625186-202C-4B90-8018-1D9EB743E399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73582" y="1010209"/>
            <a:ext cx="319615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2200" b="1" dirty="0">
                <a:solidFill>
                  <a:schemeClr val="accent3">
                    <a:lumMod val="50000"/>
                  </a:schemeClr>
                </a:solidFill>
                <a:latin typeface="Calibri" panose="020F0502020204030204"/>
              </a:rPr>
              <a:t>Mapa shrnuje aktualizovaná data ECDC k 2. 1. 2022.  </a:t>
            </a:r>
            <a:endParaRPr lang="cs-CZ" sz="2200" dirty="0">
              <a:solidFill>
                <a:schemeClr val="accent3">
                  <a:lumMod val="50000"/>
                </a:scheme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9553326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066151"/>
              </p:ext>
            </p:extLst>
          </p:nvPr>
        </p:nvGraphicFramePr>
        <p:xfrm>
          <a:off x="775744" y="840581"/>
          <a:ext cx="5013663" cy="528828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400" dirty="0"/>
                        <a:t>Pořadí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Země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/>
                        <a:t>Kumulativní počet provedených testů </a:t>
                      </a:r>
                    </a:p>
                    <a:p>
                      <a:pPr algn="ctr"/>
                      <a:r>
                        <a:rPr lang="cs-CZ" sz="1400" b="1" dirty="0"/>
                        <a:t>na 100 tisíc osob </a:t>
                      </a:r>
                    </a:p>
                    <a:p>
                      <a:pPr algn="ctr"/>
                      <a:r>
                        <a:rPr lang="cs-CZ" sz="1400" b="1" dirty="0"/>
                        <a:t>29.11. 2021—2.1. 202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akou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9 88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yp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3 78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á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3 3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ec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3 84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i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8 18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rtugal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3 57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ranc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1 62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sland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0 91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tál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8 91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lta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5 16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e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 21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Česká republika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 866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 1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horvat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 7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lg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 47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čet provedených testů v zemích EU a EHP </a:t>
            </a:r>
            <a:br>
              <a:rPr lang="cs-CZ" sz="2000" dirty="0">
                <a:latin typeface="+mj-lt"/>
              </a:rPr>
            </a:br>
            <a:r>
              <a:rPr lang="cs-CZ" sz="2000" u="sng" dirty="0">
                <a:latin typeface="+mj-lt"/>
              </a:rPr>
              <a:t>od 29.11. 2021 do 2.1. 2022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76612102"/>
              </p:ext>
            </p:extLst>
          </p:nvPr>
        </p:nvGraphicFramePr>
        <p:xfrm>
          <a:off x="6058960" y="857516"/>
          <a:ext cx="5013663" cy="5318071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400" dirty="0"/>
                        <a:t>Pořadí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Země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/>
                        <a:t>Kumulativní počet provedených testů </a:t>
                      </a:r>
                    </a:p>
                    <a:p>
                      <a:pPr algn="ctr"/>
                      <a:r>
                        <a:rPr lang="cs-CZ" sz="1400" b="1" dirty="0"/>
                        <a:t>na 100 tisíc osob </a:t>
                      </a:r>
                    </a:p>
                    <a:p>
                      <a:pPr algn="ctr"/>
                      <a:r>
                        <a:rPr lang="cs-CZ" sz="1400" b="1" dirty="0"/>
                        <a:t>29.11. 2021—2.1. 202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 64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ucembu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 3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izozem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 10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chtenštej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 70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t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 47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panělsko*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7 70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otyš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 38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sto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 10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i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 39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ulh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 79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védsko*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2 9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ěmec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 27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19351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 0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ď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 98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umu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 00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0925239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1A9A6F4A-628E-4A32-81CF-FE19A683E87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554588" y="6192583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6.1. 2022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A1C1E252-7505-49CF-963F-853CC8FAC6B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75743" y="6177432"/>
            <a:ext cx="5013663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* </a:t>
            </a:r>
            <a:r>
              <a:rPr lang="cs-CZ" sz="1100" dirty="0">
                <a:solidFill>
                  <a:srgbClr val="000000"/>
                </a:solidFill>
              </a:rPr>
              <a:t>U Švédska nejsou dostupné údaje o počtu provedených testů za 52.</a:t>
            </a:r>
            <a:r>
              <a:rPr lang="cs-CZ" sz="1100" dirty="0"/>
              <a:t> t</a:t>
            </a:r>
            <a:r>
              <a:rPr lang="cs-CZ" sz="1100" dirty="0">
                <a:solidFill>
                  <a:srgbClr val="000000"/>
                </a:solidFill>
              </a:rPr>
              <a:t>ýden </a:t>
            </a:r>
            <a:r>
              <a:rPr lang="cs-CZ" sz="1100" dirty="0"/>
              <a:t>roku 2021. U Španělska chybí údaje za 50. týden roku 2021, a proto byly u této země pro tento týden použity údaje z předchozí verze dat ECDC.</a:t>
            </a:r>
          </a:p>
        </p:txBody>
      </p:sp>
    </p:spTree>
    <p:extLst>
      <p:ext uri="{BB962C8B-B14F-4D97-AF65-F5344CB8AC3E}">
        <p14:creationId xmlns:p14="http://schemas.microsoft.com/office/powerpoint/2010/main" val="34914960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6.1. 2022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672844" y="3464759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 počet provedených testů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 100 tisíc osob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5298469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28333" y="1244600"/>
            <a:ext cx="3156144" cy="477519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celkový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 počet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vedených testů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řepočítaný na 100 tisíc osob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začátku epidemi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2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. 2022.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lvl="0" algn="ctr"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rPr>
              <a:t>Pozn.: Údaje o počtu provedených testů nejsou dostupné u </a:t>
            </a:r>
            <a:r>
              <a:rPr lang="cs-CZ" sz="1100" dirty="0">
                <a:solidFill>
                  <a:srgbClr val="000000"/>
                </a:solidFill>
                <a:latin typeface="+mj-lt"/>
              </a:rPr>
              <a:t>Švédska za 29.,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rPr>
              <a:t>u Kypru za 42.</a:t>
            </a:r>
            <a:r>
              <a:rPr lang="cs-CZ" sz="1100" dirty="0">
                <a:solidFill>
                  <a:srgbClr val="000000"/>
                </a:solidFill>
                <a:latin typeface="+mj-lt"/>
              </a:rPr>
              <a:t>, u Estonska za 43. a u Litvy za 34. a 41. týden roku 2020 a u Švédska za 52. týden roku 2021.</a:t>
            </a:r>
            <a:r>
              <a:rPr lang="cs-CZ" sz="1100" dirty="0">
                <a:solidFill>
                  <a:srgbClr val="000000"/>
                </a:solidFill>
              </a:rPr>
              <a:t> Dále chybí </a:t>
            </a:r>
            <a:r>
              <a:rPr lang="cs-CZ" sz="1100" dirty="0">
                <a:solidFill>
                  <a:srgbClr val="000000"/>
                </a:solidFill>
                <a:latin typeface="+mj-lt"/>
              </a:rPr>
              <a:t>údaje u Maďarska za 49. —52., u Švédska za 31.—39., u Slovenska za 23., 27., 35., 37., 40. a 41., u Francie za 44.—52. týden, u Lotyšska za 44.—52., a u Španělska za 18.—40. týden roku 2020 a 50. týden roku 2021, proto byly u těchto zemí pro tyto týdny použity údaje z přechozí verze dat ECDC.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rPr>
              <a:t>V případě Bulharska j</a:t>
            </a:r>
            <a:r>
              <a:rPr lang="cs-CZ" sz="1100" dirty="0">
                <a:solidFill>
                  <a:srgbClr val="000000"/>
                </a:solidFill>
                <a:latin typeface="+mj-lt"/>
              </a:rPr>
              <a:t>e</a:t>
            </a:r>
            <a:r>
              <a:rPr kumimoji="0" lang="cs-CZ" sz="11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rPr>
              <a:t> v 1. týdnu roku 2020 uveden nepravděpodobně vysoký počet testů, proto testy v tomto týdnu nejsou do analýzy zahrnuty.</a:t>
            </a:r>
            <a:endParaRPr kumimoji="0" lang="cs-CZ" sz="11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čet provedených testů v zemích EU a EHP </a:t>
            </a:r>
            <a:br>
              <a:rPr lang="cs-CZ" sz="2000" dirty="0">
                <a:latin typeface="+mj-lt"/>
              </a:rPr>
            </a:br>
            <a:r>
              <a:rPr lang="cs-CZ" sz="2000" u="sng" dirty="0">
                <a:latin typeface="+mj-lt"/>
              </a:rPr>
              <a:t>od začátku epidemie</a:t>
            </a:r>
          </a:p>
        </p:txBody>
      </p:sp>
      <p:sp>
        <p:nvSpPr>
          <p:cNvPr id="11" name="Obdélník 10"/>
          <p:cNvSpPr/>
          <p:nvPr>
            <p:custDataLst>
              <p:tags r:id="rId4"/>
            </p:custDataLst>
          </p:nvPr>
        </p:nvSpPr>
        <p:spPr>
          <a:xfrm rot="16200000">
            <a:off x="2611549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367058A-8992-403D-964A-22E4F40FED24}"/>
              </a:ext>
            </a:extLst>
          </p:cNvPr>
          <p:cNvSpPr txBox="1"/>
          <p:nvPr/>
        </p:nvSpPr>
        <p:spPr>
          <a:xfrm>
            <a:off x="381738" y="715019"/>
            <a:ext cx="115146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provedené testy (PCR i antigenové) hlášené členskou zemí do ECDC</a:t>
            </a:r>
          </a:p>
        </p:txBody>
      </p:sp>
    </p:spTree>
    <p:extLst>
      <p:ext uri="{BB962C8B-B14F-4D97-AF65-F5344CB8AC3E}">
        <p14:creationId xmlns:p14="http://schemas.microsoft.com/office/powerpoint/2010/main" val="23929082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6.1. 2022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652063" y="3464759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tvrzených případů z kumulativního počtu provedených testů (14denní) 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9408254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53272" y="1310313"/>
            <a:ext cx="3156144" cy="437082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tvrzených případů z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ho počt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vedených testů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2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2. 202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2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. 2022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1600" dirty="0">
              <a:solidFill>
                <a:srgbClr val="000000"/>
              </a:solidFill>
              <a:latin typeface="Arial" panose="020B0604020202020204"/>
            </a:endParaRPr>
          </a:p>
          <a:p>
            <a:pPr lvl="0" algn="ctr">
              <a:defRPr/>
            </a:pPr>
            <a:r>
              <a:rPr lang="cs-CZ" sz="1100" dirty="0">
                <a:solidFill>
                  <a:srgbClr val="000000"/>
                </a:solidFill>
              </a:rPr>
              <a:t>Pozn.: U Švédska nejsou dostupné údaje o počtu provedených testů za 52. týden roku 2021, a proto nebyla tato země do analýzy zahrnuta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Autofit/>
          </a:bodyPr>
          <a:lstStyle/>
          <a:p>
            <a:r>
              <a:rPr lang="cs-CZ" sz="2000" u="sng" dirty="0">
                <a:latin typeface="+mj-lt"/>
              </a:rPr>
              <a:t>14denní</a:t>
            </a:r>
            <a:r>
              <a:rPr lang="cs-CZ" sz="2000" dirty="0">
                <a:latin typeface="+mj-lt"/>
              </a:rPr>
              <a:t> podíl potvrzených případů z počtu provedených testů v zemích EU a EHP</a:t>
            </a:r>
          </a:p>
        </p:txBody>
      </p:sp>
      <p:sp>
        <p:nvSpPr>
          <p:cNvPr id="11" name="Obdélník 10"/>
          <p:cNvSpPr/>
          <p:nvPr>
            <p:custDataLst>
              <p:tags r:id="rId4"/>
            </p:custDataLst>
          </p:nvPr>
        </p:nvSpPr>
        <p:spPr>
          <a:xfrm rot="16200000">
            <a:off x="5428871" y="5904636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1ED9F66F-9613-4871-BB84-97F861A900D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81738" y="715019"/>
            <a:ext cx="115146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provedené testy (PCR i antigenové) hlášené členskou zemí do ECDC</a:t>
            </a:r>
          </a:p>
        </p:txBody>
      </p:sp>
    </p:spTree>
    <p:extLst>
      <p:ext uri="{BB962C8B-B14F-4D97-AF65-F5344CB8AC3E}">
        <p14:creationId xmlns:p14="http://schemas.microsoft.com/office/powerpoint/2010/main" val="43672645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6.1. 2022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652063" y="3464759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tvrzených případů z kumulativního počtu provedených testů (7denní) 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5854818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28333" y="1472183"/>
            <a:ext cx="3156144" cy="43704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tvrzených případů z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mulativního počt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vedených testů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lvl="0" algn="ctr"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lang="cs-CZ" sz="1600" noProof="0" dirty="0">
                <a:solidFill>
                  <a:srgbClr val="000000"/>
                </a:solidFill>
                <a:latin typeface="Arial" panose="020B0604020202020204"/>
              </a:rPr>
              <a:t>51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týdnu (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20</a:t>
            </a:r>
            <a:r>
              <a:rPr lang="cs-CZ" sz="1600" dirty="0">
                <a:solidFill>
                  <a:srgbClr val="000000"/>
                </a:solidFill>
              </a:rPr>
              <a:t>.12.—26.12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) </a:t>
            </a:r>
          </a:p>
          <a:p>
            <a:pPr lvl="0" algn="ctr"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 </a:t>
            </a:r>
            <a:r>
              <a:rPr lang="cs-CZ" sz="1600" noProof="0" dirty="0">
                <a:solidFill>
                  <a:srgbClr val="000000"/>
                </a:solidFill>
                <a:latin typeface="Arial" panose="020B0604020202020204"/>
              </a:rPr>
              <a:t>52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lang="cs-CZ" sz="1600" dirty="0">
                <a:solidFill>
                  <a:srgbClr val="000000"/>
                </a:solidFill>
              </a:rPr>
              <a:t>týdnu (27.12.—2.1.)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oku 2021.</a:t>
            </a:r>
          </a:p>
          <a:p>
            <a:pPr lvl="0" algn="ctr">
              <a:defRPr/>
            </a:pPr>
            <a:endParaRPr lang="cs-CZ" sz="1600" dirty="0">
              <a:solidFill>
                <a:srgbClr val="000000"/>
              </a:solidFill>
              <a:latin typeface="Arial" panose="020B0604020202020204"/>
            </a:endParaRPr>
          </a:p>
          <a:p>
            <a:pPr algn="ctr">
              <a:defRPr/>
            </a:pPr>
            <a:r>
              <a:rPr lang="cs-CZ" sz="1100" dirty="0">
                <a:solidFill>
                  <a:srgbClr val="000000"/>
                </a:solidFill>
              </a:rPr>
              <a:t>Pozn.: U Švédska nejsou dostupné údaje o počtu provedených testů za 52. týden roku 2021, a proto nebyla tato země do analýzy zahrnuta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Autofit/>
          </a:bodyPr>
          <a:lstStyle/>
          <a:p>
            <a:r>
              <a:rPr lang="cs-CZ" sz="2000" u="sng" dirty="0">
                <a:latin typeface="+mj-lt"/>
              </a:rPr>
              <a:t>7denní</a:t>
            </a:r>
            <a:r>
              <a:rPr lang="cs-CZ" sz="2000" dirty="0">
                <a:latin typeface="+mj-lt"/>
              </a:rPr>
              <a:t> podíl potvrzených případů z počtu provedených testů v zemích EU a EHP</a:t>
            </a:r>
          </a:p>
        </p:txBody>
      </p:sp>
      <p:sp>
        <p:nvSpPr>
          <p:cNvPr id="11" name="Obdélník 10"/>
          <p:cNvSpPr/>
          <p:nvPr>
            <p:custDataLst>
              <p:tags r:id="rId4"/>
            </p:custDataLst>
          </p:nvPr>
        </p:nvSpPr>
        <p:spPr>
          <a:xfrm rot="16200000">
            <a:off x="5462528" y="5895862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51D1E692-519E-4DAB-B393-73DA8A84FB26}"/>
              </a:ext>
            </a:extLst>
          </p:cNvPr>
          <p:cNvSpPr txBox="1"/>
          <p:nvPr/>
        </p:nvSpPr>
        <p:spPr>
          <a:xfrm>
            <a:off x="381738" y="715019"/>
            <a:ext cx="115146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provedené testy (PCR i antigenové) hlášené členskou zemí do ECDC</a:t>
            </a:r>
          </a:p>
        </p:txBody>
      </p:sp>
    </p:spTree>
    <p:extLst>
      <p:ext uri="{BB962C8B-B14F-4D97-AF65-F5344CB8AC3E}">
        <p14:creationId xmlns:p14="http://schemas.microsoft.com/office/powerpoint/2010/main" val="39569092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6.1. 2022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3695439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35443"/>
            <a:ext cx="44719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potvrzených případů z počtu provedených testů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daném týdnu 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/>
        </p:nvSpPr>
        <p:spPr>
          <a:xfrm>
            <a:off x="8397384" y="4929483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CD61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/>
        </p:nvSpPr>
        <p:spPr>
          <a:xfrm>
            <a:off x="8391649" y="4242612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305983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U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/>
        </p:nvSpPr>
        <p:spPr>
          <a:xfrm>
            <a:off x="8398000" y="4543527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99663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/>
        </p:nvSpPr>
        <p:spPr>
          <a:xfrm>
            <a:off x="8390275" y="4741567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30598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Z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podílu potvrzených případů z počtu provedených testů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28333" y="1972734"/>
            <a:ext cx="3156144" cy="364066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f zobrazuje vývoj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tvrzených případů z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ho počt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vedených testů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období od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4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. 202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2.1. 2022).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AC542E05-0690-4206-8063-94C7127469F5}"/>
              </a:ext>
            </a:extLst>
          </p:cNvPr>
          <p:cNvSpPr txBox="1"/>
          <p:nvPr/>
        </p:nvSpPr>
        <p:spPr>
          <a:xfrm>
            <a:off x="381738" y="715019"/>
            <a:ext cx="115146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ny provedené testy (PCR i antigenové) hlášené členskou zemí do ECDC</a:t>
            </a:r>
          </a:p>
        </p:txBody>
      </p:sp>
    </p:spTree>
    <p:extLst>
      <p:ext uri="{BB962C8B-B14F-4D97-AF65-F5344CB8AC3E}">
        <p14:creationId xmlns:p14="http://schemas.microsoft.com/office/powerpoint/2010/main" val="17800771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3693109"/>
            <a:ext cx="9553575" cy="1253795"/>
          </a:xfrm>
        </p:spPr>
        <p:txBody>
          <a:bodyPr>
            <a:normAutofit/>
          </a:bodyPr>
          <a:lstStyle/>
          <a:p>
            <a:r>
              <a:rPr lang="cs-CZ" sz="4800" b="1" dirty="0"/>
              <a:t>Mortalita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658368" y="4946904"/>
            <a:ext cx="10387584" cy="707886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000" b="1" dirty="0">
                <a:solidFill>
                  <a:schemeClr val="bg1"/>
                </a:solidFill>
              </a:rPr>
              <a:t>Data o počtech úmrtí hlášená v reálném čase mají velmi omezenou hodnotu. Státy je budou muset doplnit, validovat, určit příčinu úmrtí …… </a:t>
            </a:r>
          </a:p>
        </p:txBody>
      </p:sp>
    </p:spTree>
    <p:extLst>
      <p:ext uri="{BB962C8B-B14F-4D97-AF65-F5344CB8AC3E}">
        <p14:creationId xmlns:p14="http://schemas.microsoft.com/office/powerpoint/2010/main" val="10455691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763288" y="6489579"/>
            <a:ext cx="22915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Zdroj: ECDC, 6.1. 2022</a:t>
            </a:r>
          </a:p>
        </p:txBody>
      </p:sp>
      <p:sp>
        <p:nvSpPr>
          <p:cNvPr id="16" name="TextovéPole 15"/>
          <p:cNvSpPr txBox="1"/>
          <p:nvPr/>
        </p:nvSpPr>
        <p:spPr>
          <a:xfrm>
            <a:off x="6448425" y="2033700"/>
            <a:ext cx="2600325" cy="923330"/>
          </a:xfrm>
          <a:prstGeom prst="rect">
            <a:avLst/>
          </a:prstGeom>
          <a:solidFill>
            <a:srgbClr val="00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Toto není </a:t>
            </a:r>
            <a:r>
              <a:rPr lang="cs-CZ" dirty="0" err="1"/>
              <a:t>correct</a:t>
            </a:r>
            <a:r>
              <a:rPr lang="cs-CZ" dirty="0"/>
              <a:t> – dejte sem tu </a:t>
            </a:r>
            <a:r>
              <a:rPr lang="cs-CZ" dirty="0" err="1"/>
              <a:t>souhnnou</a:t>
            </a:r>
            <a:r>
              <a:rPr lang="cs-CZ" dirty="0"/>
              <a:t> tabulku úmrtí za 2020</a:t>
            </a:r>
          </a:p>
        </p:txBody>
      </p:sp>
      <p:graphicFrame>
        <p:nvGraphicFramePr>
          <p:cNvPr id="17" name="Tabulka 16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9512780"/>
              </p:ext>
            </p:extLst>
          </p:nvPr>
        </p:nvGraphicFramePr>
        <p:xfrm>
          <a:off x="584948" y="766578"/>
          <a:ext cx="5400000" cy="528860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61587">
                <a:tc>
                  <a:txBody>
                    <a:bodyPr/>
                    <a:lstStyle/>
                    <a:p>
                      <a:pPr algn="l"/>
                      <a:r>
                        <a:rPr lang="cs-CZ" sz="1200" b="1" dirty="0"/>
                        <a:t>Země</a:t>
                      </a:r>
                      <a:endParaRPr lang="cs-CZ" sz="1200" b="1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/>
                        <a:t>Kumulativní</a:t>
                      </a:r>
                      <a:r>
                        <a:rPr lang="cs-CZ" sz="1200" b="1" baseline="0" dirty="0"/>
                        <a:t> p</a:t>
                      </a:r>
                      <a:r>
                        <a:rPr lang="cs-CZ" sz="1200" b="1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baseline="0" dirty="0"/>
                        <a:t> na </a:t>
                      </a:r>
                      <a:r>
                        <a:rPr lang="cs-CZ" sz="1200" b="1" u="sng" baseline="0" dirty="0"/>
                        <a:t>100 tisíc osob</a:t>
                      </a:r>
                      <a:endParaRPr lang="cs-CZ" sz="1200" b="1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sng" dirty="0"/>
                        <a:t>7denní </a:t>
                      </a:r>
                      <a:r>
                        <a:rPr lang="cs-CZ" sz="1200" b="1" dirty="0"/>
                        <a:t>kumulativní</a:t>
                      </a:r>
                      <a:r>
                        <a:rPr lang="cs-CZ" sz="1200" b="1" baseline="0" dirty="0"/>
                        <a:t> p</a:t>
                      </a:r>
                      <a:r>
                        <a:rPr lang="cs-CZ" sz="1200" b="1" dirty="0"/>
                        <a:t>očet úmrtí</a:t>
                      </a:r>
                      <a:r>
                        <a:rPr lang="cs-CZ" sz="1200" b="1" baseline="0" dirty="0"/>
                        <a:t> na </a:t>
                      </a:r>
                      <a:r>
                        <a:rPr lang="cs-CZ" sz="1200" b="1" u="sng" baseline="0" dirty="0"/>
                        <a:t>100 tisíc osob</a:t>
                      </a:r>
                      <a:endParaRPr lang="cs-CZ" sz="1200" b="1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sng" dirty="0"/>
                        <a:t>14denní </a:t>
                      </a:r>
                      <a:r>
                        <a:rPr lang="cs-CZ" sz="1200" b="1" dirty="0"/>
                        <a:t>kumulativní</a:t>
                      </a:r>
                      <a:r>
                        <a:rPr lang="cs-CZ" sz="1200" b="1" baseline="0" dirty="0"/>
                        <a:t> p</a:t>
                      </a:r>
                      <a:r>
                        <a:rPr lang="cs-CZ" sz="1200" b="1" dirty="0"/>
                        <a:t>očet úmrtí</a:t>
                      </a:r>
                      <a:r>
                        <a:rPr lang="cs-CZ" sz="1200" b="1" baseline="0" dirty="0"/>
                        <a:t> na </a:t>
                      </a:r>
                      <a:r>
                        <a:rPr lang="cs-CZ" sz="1200" b="1" u="sng" baseline="0" dirty="0"/>
                        <a:t>100 tisíc osob</a:t>
                      </a:r>
                      <a:endParaRPr lang="cs-CZ" sz="1200" b="1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ulha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5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ďa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1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eská republika</a:t>
                      </a:r>
                    </a:p>
                  </a:txBody>
                  <a:tcPr anchor="b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9,5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5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4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orvat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1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e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7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umu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5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i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9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tv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7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l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8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tyš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6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lg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2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tál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1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Řec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5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ranc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0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paněl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9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graphicFrame>
        <p:nvGraphicFramePr>
          <p:cNvPr id="18" name="Tabulka 17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14088442"/>
              </p:ext>
            </p:extLst>
          </p:nvPr>
        </p:nvGraphicFramePr>
        <p:xfrm>
          <a:off x="6250375" y="757705"/>
          <a:ext cx="5400000" cy="532906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72002">
                <a:tc>
                  <a:txBody>
                    <a:bodyPr/>
                    <a:lstStyle/>
                    <a:p>
                      <a:r>
                        <a:rPr lang="cs-CZ" sz="1200" dirty="0"/>
                        <a:t>Země</a:t>
                      </a:r>
                      <a:endParaRPr lang="cs-CZ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dirty="0"/>
                        <a:t>Kumulativní</a:t>
                      </a:r>
                      <a:r>
                        <a:rPr lang="cs-CZ" sz="1200" baseline="0" dirty="0"/>
                        <a:t> p</a:t>
                      </a:r>
                      <a:r>
                        <a:rPr lang="cs-CZ" sz="1200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aseline="0" dirty="0"/>
                        <a:t> na </a:t>
                      </a:r>
                      <a:r>
                        <a:rPr lang="cs-CZ" sz="1200" u="sng" baseline="0" dirty="0"/>
                        <a:t>100 tisíc osob</a:t>
                      </a:r>
                      <a:endParaRPr lang="cs-CZ" sz="12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7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14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rtugal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4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848665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chtenštej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5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akou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9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véd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ucembur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6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sto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ěmec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4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izozem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r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lt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ypr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á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i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r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7425165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sland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89916256"/>
                  </a:ext>
                </a:extLst>
              </a:tr>
            </a:tbl>
          </a:graphicData>
        </a:graphic>
      </p:graphicFrame>
      <p:sp>
        <p:nvSpPr>
          <p:cNvPr id="9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/>
              <a:t>Úmrtí – srovnání zemí řazeno dle kumulativního počtu na 100tis. 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500060" y="6083501"/>
            <a:ext cx="54601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/>
              <a:t>Data jsou průběžným srovnáním hodnot jednotlivých států s omezenou interpretační hodnotou. Mortalita není ve všech státech průběžně vykazována stejně a je také rozdílně aktualizována v čase.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89240302-8EF9-44FF-BE9E-83ECEB3AB4ED}"/>
              </a:ext>
            </a:extLst>
          </p:cNvPr>
          <p:cNvSpPr txBox="1"/>
          <p:nvPr/>
        </p:nvSpPr>
        <p:spPr>
          <a:xfrm>
            <a:off x="6192979" y="6044512"/>
            <a:ext cx="547401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úmrtí za 51. a 52. týden roku 2021, a proto byla u této země analýza provedena jen do 50. týdne roku 2021.</a:t>
            </a:r>
            <a:endParaRPr lang="cs-CZ" sz="1100" b="1" u="sng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265243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ovéPole 15"/>
          <p:cNvSpPr txBox="1"/>
          <p:nvPr/>
        </p:nvSpPr>
        <p:spPr>
          <a:xfrm>
            <a:off x="6448425" y="2033700"/>
            <a:ext cx="2600325" cy="923330"/>
          </a:xfrm>
          <a:prstGeom prst="rect">
            <a:avLst/>
          </a:prstGeom>
          <a:solidFill>
            <a:srgbClr val="00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Toto není </a:t>
            </a:r>
            <a:r>
              <a:rPr lang="cs-CZ" dirty="0" err="1"/>
              <a:t>correct</a:t>
            </a:r>
            <a:r>
              <a:rPr lang="cs-CZ" dirty="0"/>
              <a:t> – dejte sem tu </a:t>
            </a:r>
            <a:r>
              <a:rPr lang="cs-CZ" dirty="0" err="1"/>
              <a:t>souhnnou</a:t>
            </a:r>
            <a:r>
              <a:rPr lang="cs-CZ" dirty="0"/>
              <a:t> tabulku úmrtí za 2020</a:t>
            </a:r>
          </a:p>
        </p:txBody>
      </p:sp>
      <p:graphicFrame>
        <p:nvGraphicFramePr>
          <p:cNvPr id="17" name="Tabulka 16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4991612"/>
              </p:ext>
            </p:extLst>
          </p:nvPr>
        </p:nvGraphicFramePr>
        <p:xfrm>
          <a:off x="584948" y="766578"/>
          <a:ext cx="5400000" cy="528860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61587">
                <a:tc>
                  <a:txBody>
                    <a:bodyPr/>
                    <a:lstStyle/>
                    <a:p>
                      <a:pPr algn="l"/>
                      <a:r>
                        <a:rPr lang="cs-CZ" sz="1200" dirty="0">
                          <a:latin typeface="+mj-lt"/>
                        </a:rPr>
                        <a:t>Země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>
                          <a:latin typeface="+mj-lt"/>
                        </a:rPr>
                        <a:t>7denní </a:t>
                      </a:r>
                      <a:r>
                        <a:rPr lang="cs-CZ" sz="1200" dirty="0">
                          <a:latin typeface="+mj-lt"/>
                        </a:rPr>
                        <a:t>kumulativní</a:t>
                      </a:r>
                      <a:r>
                        <a:rPr lang="cs-CZ" sz="1200" baseline="0" dirty="0">
                          <a:latin typeface="+mj-lt"/>
                        </a:rPr>
                        <a:t> p</a:t>
                      </a:r>
                      <a:r>
                        <a:rPr lang="cs-CZ" sz="1200" dirty="0">
                          <a:latin typeface="+mj-lt"/>
                        </a:rPr>
                        <a:t>očet úmrtí</a:t>
                      </a:r>
                      <a:r>
                        <a:rPr lang="cs-CZ" sz="1200" baseline="0" dirty="0">
                          <a:latin typeface="+mj-lt"/>
                        </a:rPr>
                        <a:t> na </a:t>
                      </a:r>
                      <a:r>
                        <a:rPr lang="cs-CZ" sz="1200" u="sng" baseline="0" dirty="0">
                          <a:latin typeface="+mj-lt"/>
                        </a:rPr>
                        <a:t>100 tisíc osob</a:t>
                      </a:r>
                      <a:endParaRPr lang="cs-CZ" sz="1200" u="sng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4denní 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l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8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orvat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1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ulha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5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e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7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ďa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1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tva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7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Řec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5,7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tyš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6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eská republika</a:t>
                      </a:r>
                    </a:p>
                  </a:txBody>
                  <a:tcPr anchor="b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5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9,5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4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ěmec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4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sto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rancie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0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á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ypr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izozem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graphicFrame>
        <p:nvGraphicFramePr>
          <p:cNvPr id="18" name="Tabulka 17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1551121"/>
              </p:ext>
            </p:extLst>
          </p:nvPr>
        </p:nvGraphicFramePr>
        <p:xfrm>
          <a:off x="6250375" y="757703"/>
          <a:ext cx="5400000" cy="532906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72008">
                <a:tc>
                  <a:txBody>
                    <a:bodyPr/>
                    <a:lstStyle/>
                    <a:p>
                      <a:r>
                        <a:rPr lang="cs-CZ" sz="1200" dirty="0">
                          <a:latin typeface="+mj-lt"/>
                        </a:rPr>
                        <a:t>Země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>
                          <a:latin typeface="+mj-lt"/>
                        </a:rPr>
                        <a:t>7denní </a:t>
                      </a:r>
                      <a:r>
                        <a:rPr lang="cs-CZ" sz="1200" dirty="0">
                          <a:latin typeface="+mj-lt"/>
                        </a:rPr>
                        <a:t>kumulativní</a:t>
                      </a:r>
                      <a:r>
                        <a:rPr lang="cs-CZ" sz="1200" baseline="0" dirty="0">
                          <a:latin typeface="+mj-lt"/>
                        </a:rPr>
                        <a:t> p</a:t>
                      </a:r>
                      <a:r>
                        <a:rPr lang="cs-CZ" sz="1200" dirty="0">
                          <a:latin typeface="+mj-lt"/>
                        </a:rPr>
                        <a:t>očet úmrtí</a:t>
                      </a:r>
                      <a:r>
                        <a:rPr lang="cs-CZ" sz="1200" baseline="0" dirty="0">
                          <a:latin typeface="+mj-lt"/>
                        </a:rPr>
                        <a:t> na </a:t>
                      </a:r>
                      <a:r>
                        <a:rPr lang="cs-CZ" sz="1200" u="sng" baseline="0" dirty="0">
                          <a:latin typeface="+mj-lt"/>
                        </a:rPr>
                        <a:t>100 tisíc osob</a:t>
                      </a:r>
                      <a:endParaRPr lang="cs-CZ" sz="1200" u="sng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4denní 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kumulativn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p</a:t>
                      </a:r>
                      <a:r>
                        <a:rPr lang="cs-CZ" sz="1200" b="0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očet úmrtí</a:t>
                      </a:r>
                      <a:r>
                        <a:rPr lang="cs-CZ" sz="1200" b="0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na </a:t>
                      </a:r>
                      <a:r>
                        <a:rPr lang="cs-CZ" sz="1200" b="0" u="sng" kern="1200" baseline="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100 tisíc osob</a:t>
                      </a:r>
                      <a:endParaRPr lang="cs-CZ" sz="1200" b="0" u="sng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lg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2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ucembu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6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tál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1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rtugal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4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i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r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akou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9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umun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5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924309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i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9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lta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paněl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9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sland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véd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633057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chtenštej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5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83131000"/>
                  </a:ext>
                </a:extLst>
              </a:tr>
            </a:tbl>
          </a:graphicData>
        </a:graphic>
      </p:graphicFrame>
      <p:sp>
        <p:nvSpPr>
          <p:cNvPr id="9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/>
              <a:t>Úmrtí – srovnání zemí řazeno dle 7denních počtů na 100tis.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A2199946-02DE-42BF-806B-1FDEE8F5FB8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763288" y="6489579"/>
            <a:ext cx="22915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Zdroj: ECDC, 6.1. 2022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97B1BD28-10EF-4703-B505-F31E255AC1EA}"/>
              </a:ext>
            </a:extLst>
          </p:cNvPr>
          <p:cNvSpPr txBox="1"/>
          <p:nvPr/>
        </p:nvSpPr>
        <p:spPr>
          <a:xfrm>
            <a:off x="500060" y="6083501"/>
            <a:ext cx="54601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/>
              <a:t>Data jsou průběžným srovnáním hodnot jednotlivých států s omezenou interpretační hodnotou. Mortalita není ve všech státech průběžně vykazována stejně a je také rozdílně aktualizována v čase.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64507F08-48CA-4506-B2D8-C8D571839AE1}"/>
              </a:ext>
            </a:extLst>
          </p:cNvPr>
          <p:cNvSpPr txBox="1"/>
          <p:nvPr/>
        </p:nvSpPr>
        <p:spPr>
          <a:xfrm>
            <a:off x="6192979" y="6044512"/>
            <a:ext cx="547401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úmrtí za 51. a 52. týden roku 2021, a proto byla u této země analýza provedena jen do 50. týdne roku 2021.</a:t>
            </a:r>
            <a:endParaRPr lang="cs-CZ" sz="1100" b="1" u="sng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33329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ovéPole 15"/>
          <p:cNvSpPr txBox="1"/>
          <p:nvPr/>
        </p:nvSpPr>
        <p:spPr>
          <a:xfrm>
            <a:off x="6448425" y="2033700"/>
            <a:ext cx="2600325" cy="923330"/>
          </a:xfrm>
          <a:prstGeom prst="rect">
            <a:avLst/>
          </a:prstGeom>
          <a:solidFill>
            <a:srgbClr val="00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Toto není </a:t>
            </a:r>
            <a:r>
              <a:rPr lang="cs-CZ" dirty="0" err="1"/>
              <a:t>correct</a:t>
            </a:r>
            <a:r>
              <a:rPr lang="cs-CZ" dirty="0"/>
              <a:t> – dejte sem tu </a:t>
            </a:r>
            <a:r>
              <a:rPr lang="cs-CZ" dirty="0" err="1"/>
              <a:t>souhnnou</a:t>
            </a:r>
            <a:r>
              <a:rPr lang="cs-CZ" dirty="0"/>
              <a:t> tabulku úmrtí za 2020</a:t>
            </a:r>
          </a:p>
        </p:txBody>
      </p:sp>
      <p:graphicFrame>
        <p:nvGraphicFramePr>
          <p:cNvPr id="17" name="Tabulka 16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4813850"/>
              </p:ext>
            </p:extLst>
          </p:nvPr>
        </p:nvGraphicFramePr>
        <p:xfrm>
          <a:off x="584948" y="766578"/>
          <a:ext cx="5400000" cy="528860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61587">
                <a:tc>
                  <a:txBody>
                    <a:bodyPr/>
                    <a:lstStyle/>
                    <a:p>
                      <a:pPr algn="l"/>
                      <a:r>
                        <a:rPr lang="cs-CZ" sz="1200" dirty="0"/>
                        <a:t>Země</a:t>
                      </a:r>
                      <a:endParaRPr lang="cs-CZ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/>
                        <a:t>14denní </a:t>
                      </a:r>
                      <a:r>
                        <a:rPr lang="cs-CZ" sz="1200" dirty="0"/>
                        <a:t>kumulativní</a:t>
                      </a:r>
                      <a:r>
                        <a:rPr lang="cs-CZ" sz="1200" baseline="0" dirty="0"/>
                        <a:t> p</a:t>
                      </a:r>
                      <a:r>
                        <a:rPr lang="cs-CZ" sz="1200" dirty="0"/>
                        <a:t>očet úmrtí</a:t>
                      </a:r>
                      <a:r>
                        <a:rPr lang="cs-CZ" sz="1200" baseline="0" dirty="0"/>
                        <a:t> na </a:t>
                      </a:r>
                      <a:r>
                        <a:rPr lang="cs-CZ" sz="1200" u="sng" baseline="0" dirty="0"/>
                        <a:t>100 tisíc osob</a:t>
                      </a:r>
                      <a:endParaRPr lang="cs-CZ" sz="12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7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l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8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orvat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1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ďa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1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ulha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5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e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7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tva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7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Řec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5,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eská republika</a:t>
                      </a:r>
                    </a:p>
                  </a:txBody>
                  <a:tcPr anchor="b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4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5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9,5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tyš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6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ěmec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4,9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sto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,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ranc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0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á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,5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lgie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2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180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ovi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2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9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graphicFrame>
        <p:nvGraphicFramePr>
          <p:cNvPr id="18" name="Tabulka 17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2011092"/>
              </p:ext>
            </p:extLst>
          </p:nvPr>
        </p:nvGraphicFramePr>
        <p:xfrm>
          <a:off x="6250375" y="757703"/>
          <a:ext cx="5400000" cy="532906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5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72003">
                <a:tc>
                  <a:txBody>
                    <a:bodyPr/>
                    <a:lstStyle/>
                    <a:p>
                      <a:r>
                        <a:rPr lang="cs-CZ" sz="1200" dirty="0"/>
                        <a:t>Země</a:t>
                      </a:r>
                      <a:endParaRPr lang="cs-CZ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sng" dirty="0"/>
                        <a:t>14denní </a:t>
                      </a:r>
                      <a:r>
                        <a:rPr lang="cs-CZ" sz="1200" dirty="0"/>
                        <a:t>kumulativní</a:t>
                      </a:r>
                      <a:r>
                        <a:rPr lang="cs-CZ" sz="1200" baseline="0" dirty="0"/>
                        <a:t> p</a:t>
                      </a:r>
                      <a:r>
                        <a:rPr lang="cs-CZ" sz="1200" dirty="0"/>
                        <a:t>očet úmrtí</a:t>
                      </a:r>
                      <a:r>
                        <a:rPr lang="cs-CZ" sz="1200" baseline="0" dirty="0"/>
                        <a:t> na </a:t>
                      </a:r>
                      <a:r>
                        <a:rPr lang="cs-CZ" sz="1200" u="sng" baseline="0" dirty="0"/>
                        <a:t>100 tisíc osob</a:t>
                      </a:r>
                      <a:endParaRPr lang="cs-CZ" sz="12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u="sng" dirty="0"/>
                        <a:t>7denní </a:t>
                      </a: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</a:t>
                      </a: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dirty="0"/>
                        <a:t>Kumulativní</a:t>
                      </a:r>
                      <a:r>
                        <a:rPr lang="cs-CZ" sz="1200" b="0" baseline="0" dirty="0"/>
                        <a:t> p</a:t>
                      </a:r>
                      <a:r>
                        <a:rPr lang="cs-CZ" sz="1200" b="0" dirty="0"/>
                        <a:t>očet úmrtí od začátku epidemi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baseline="0" dirty="0"/>
                        <a:t> na </a:t>
                      </a:r>
                      <a:r>
                        <a:rPr lang="cs-CZ" sz="1200" b="0" u="sng" baseline="0" dirty="0"/>
                        <a:t>100 tisíc osob</a:t>
                      </a:r>
                      <a:endParaRPr lang="cs-CZ" sz="1200" b="0" u="sng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izozem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,4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ypr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7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táli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1,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chtenštejn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5,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ucembur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6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akou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9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279691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i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3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rtugal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4,6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umunsko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5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r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lta</a:t>
                      </a:r>
                    </a:p>
                  </a:txBody>
                  <a:tcPr anchor="b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6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,1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r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,1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panělsko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9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Švédsko</a:t>
                      </a:r>
                    </a:p>
                  </a:txBody>
                  <a:tcPr anchor="b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,4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6689795"/>
                  </a:ext>
                </a:extLst>
              </a:tr>
              <a:tr h="2638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sland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76322813"/>
                  </a:ext>
                </a:extLst>
              </a:tr>
            </a:tbl>
          </a:graphicData>
        </a:graphic>
      </p:graphicFrame>
      <p:sp>
        <p:nvSpPr>
          <p:cNvPr id="9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/>
              <a:t>Úmrtí – srovnání zemí řazeno dle 14denních počtů na 100tis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805B2A00-318E-49DC-8B3F-6321E7CB57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763288" y="6489579"/>
            <a:ext cx="22915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Zdroj: ECDC, 6.1. 2022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FABB83D-5FFB-44C0-BA3C-FCF7D4C844B1}"/>
              </a:ext>
            </a:extLst>
          </p:cNvPr>
          <p:cNvSpPr txBox="1"/>
          <p:nvPr/>
        </p:nvSpPr>
        <p:spPr>
          <a:xfrm>
            <a:off x="500060" y="6083501"/>
            <a:ext cx="54601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i="1" dirty="0"/>
              <a:t>Data jsou průběžným srovnáním hodnot jednotlivých států s omezenou interpretační hodnotou. Mortalita není ve všech státech průběžně vykazována stejně a je také rozdílně aktualizována v čase.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F99DCF34-BD92-4FCE-98CA-249B40954339}"/>
              </a:ext>
            </a:extLst>
          </p:cNvPr>
          <p:cNvSpPr txBox="1"/>
          <p:nvPr/>
        </p:nvSpPr>
        <p:spPr>
          <a:xfrm>
            <a:off x="6192979" y="6044512"/>
            <a:ext cx="547401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úmrtí za 51. a 52. týden roku 2021, a proto byla u této země analýza provedena jen do 50. týdne roku 2021.</a:t>
            </a:r>
            <a:endParaRPr lang="cs-CZ" sz="1100" b="1" u="sng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64589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8129973"/>
              </p:ext>
            </p:extLst>
          </p:nvPr>
        </p:nvGraphicFramePr>
        <p:xfrm>
          <a:off x="2570678" y="1043782"/>
          <a:ext cx="6684884" cy="553391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6712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712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7122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7122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400" dirty="0"/>
                        <a:t>Země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Zkratka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dirty="0"/>
                        <a:t>Země</a:t>
                      </a:r>
                      <a:endParaRPr lang="cs-CZ" sz="1400" u="sng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u="none" dirty="0"/>
                        <a:t>Zkratka</a:t>
                      </a:r>
                      <a:endParaRPr lang="cs-CZ" sz="1400" u="none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Belg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B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Maďa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HU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Bulha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BG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Malta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M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Česká republika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CZ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Němec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D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Dá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DK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Nizozem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NL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Esto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E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No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N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Fi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FI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Pol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PL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Franc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FR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Portugal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P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Chorvat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HR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Rakou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A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I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Rumu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R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Island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IS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Řecko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u="none" strike="noStrike" kern="1200" dirty="0">
                          <a:effectLst/>
                        </a:rPr>
                        <a:t>EL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Itál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I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Slove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SK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Kypr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CY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Slovi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SI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ichtenštejn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I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Španěl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ES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itva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T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Švéd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S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otyš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V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Velká Británi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UK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Lucembursko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LU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Seznam zkratek zemí EU, EHP a Velké Británie</a:t>
            </a:r>
          </a:p>
        </p:txBody>
      </p:sp>
    </p:spTree>
    <p:extLst>
      <p:ext uri="{BB962C8B-B14F-4D97-AF65-F5344CB8AC3E}">
        <p14:creationId xmlns:p14="http://schemas.microsoft.com/office/powerpoint/2010/main" val="15136243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6.1. 2022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661343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14 denní kumulativní počet úmrtí </a:t>
            </a:r>
          </a:p>
          <a:p>
            <a:pPr algn="ctr"/>
            <a:r>
              <a:rPr lang="cs-CZ" b="1" dirty="0"/>
              <a:t>na 100 tisíc osob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270692" y="4486610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3">
                    <a:lumMod val="50000"/>
                  </a:schemeClr>
                </a:solidFill>
              </a:rPr>
              <a:t>S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68881" y="4304219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>
                    <a:lumMod val="50000"/>
                  </a:schemeClr>
                </a:solidFill>
              </a:rPr>
              <a:t>HU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62692" y="4127496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996633"/>
                </a:solidFill>
              </a:rPr>
              <a:t>PL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252256" y="4748676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/>
                </a:solidFill>
              </a:rPr>
              <a:t>CZ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6896885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</a:t>
            </a:r>
            <a:r>
              <a:rPr lang="cs-CZ" sz="2000" u="sng" dirty="0">
                <a:latin typeface="+mj-lt"/>
              </a:rPr>
              <a:t>14denního</a:t>
            </a:r>
            <a:r>
              <a:rPr lang="cs-CZ" sz="2000" dirty="0">
                <a:latin typeface="+mj-lt"/>
              </a:rPr>
              <a:t> kumulativního počtu úmrtí </a:t>
            </a:r>
            <a:br>
              <a:rPr lang="cs-CZ" sz="2000" dirty="0">
                <a:latin typeface="+mj-lt"/>
              </a:rPr>
            </a:br>
            <a:r>
              <a:rPr lang="cs-CZ" sz="2000" dirty="0">
                <a:latin typeface="+mj-lt"/>
              </a:rPr>
              <a:t>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070847" y="2094808"/>
            <a:ext cx="2904485" cy="356439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14denního kumulativního </a:t>
            </a:r>
            <a:r>
              <a:rPr lang="cs-CZ" sz="1600" dirty="0">
                <a:solidFill>
                  <a:schemeClr val="tx1"/>
                </a:solidFill>
              </a:rPr>
              <a:t>počtu úmrtí od 1. týdne roku 2021 (4.1.—10.1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52. týdne roku 2021 (27.12.—2.1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  <a:p>
            <a:pPr algn="ctr"/>
            <a:endParaRPr lang="cs-CZ" sz="1600" b="1" u="sng" dirty="0">
              <a:solidFill>
                <a:schemeClr val="tx1"/>
              </a:solidFill>
            </a:endParaRPr>
          </a:p>
          <a:p>
            <a:pPr algn="ctr"/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úmrtí za 51. a 52. týden roku 2021, a proto byla u této země analýza provedena jen do 50. týdne roku 2021.</a:t>
            </a:r>
            <a:endParaRPr lang="cs-CZ" sz="1100" b="1" u="sng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92050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6.1. 2022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0598892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7 denní kumulativní počet úmrtí </a:t>
            </a:r>
          </a:p>
          <a:p>
            <a:pPr algn="ctr"/>
            <a:r>
              <a:rPr lang="cs-CZ" b="1" dirty="0"/>
              <a:t>na 100 tisíc osob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273269" y="4444395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3">
                    <a:lumMod val="50000"/>
                  </a:schemeClr>
                </a:solidFill>
              </a:rPr>
              <a:t>S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73270" y="4618193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>
                    <a:lumMod val="50000"/>
                  </a:schemeClr>
                </a:solidFill>
              </a:rPr>
              <a:t>HU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83546" y="4169381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996633"/>
                </a:solidFill>
              </a:rPr>
              <a:t>PL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268221" y="4896846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/>
                </a:solidFill>
              </a:rPr>
              <a:t>CZ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6896885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</a:t>
            </a:r>
            <a:r>
              <a:rPr lang="cs-CZ" sz="2000" u="sng" dirty="0">
                <a:latin typeface="+mj-lt"/>
              </a:rPr>
              <a:t>7denního</a:t>
            </a:r>
            <a:r>
              <a:rPr lang="cs-CZ" sz="2000" dirty="0">
                <a:latin typeface="+mj-lt"/>
              </a:rPr>
              <a:t> kumulativního počtu úmrtí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59226529-17EF-4D97-A0A2-10EBEC6C0526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070847" y="2094808"/>
            <a:ext cx="2904485" cy="356439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7denního kumulativního </a:t>
            </a:r>
            <a:r>
              <a:rPr lang="cs-CZ" sz="1600" dirty="0">
                <a:solidFill>
                  <a:schemeClr val="tx1"/>
                </a:solidFill>
              </a:rPr>
              <a:t>počtu úmrtí od 1. týdne roku 2021 (4.1.—10.1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52. týdne roku 2021 (27.12.—2.1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  <a:p>
            <a:pPr algn="ctr"/>
            <a:endParaRPr lang="cs-CZ" sz="1600" b="1" u="sng" dirty="0">
              <a:solidFill>
                <a:schemeClr val="tx1"/>
              </a:solidFill>
            </a:endParaRPr>
          </a:p>
          <a:p>
            <a:pPr algn="ctr"/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úmrtí za 51. a 52. týden roku 2021, a proto byla u této země analýza provedena jen do 50. týdne roku 2021.</a:t>
            </a:r>
            <a:endParaRPr lang="cs-CZ" sz="1100" b="1" u="sng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240582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6.1. 2022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652063" y="3464759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měr kumulativního počtu úmrtí ke kumulativnímu počtu potvrzených případů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0901848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919773" y="2244436"/>
            <a:ext cx="3156144" cy="356315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poměr kumulativního počtu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úmrtí ke </a:t>
            </a:r>
            <a:r>
              <a:rPr lang="cs-CZ" sz="1600" b="1" u="sng" dirty="0">
                <a:solidFill>
                  <a:schemeClr val="tx1"/>
                </a:solidFill>
              </a:rPr>
              <a:t>kumulativnímu počtu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potvrzených případů onemocnění od začátku epidemie do 2.1. 2022</a:t>
            </a:r>
            <a:br>
              <a:rPr lang="cs-CZ" sz="1600" dirty="0">
                <a:solidFill>
                  <a:schemeClr val="tx1"/>
                </a:solidFill>
              </a:rPr>
            </a:br>
            <a:r>
              <a:rPr lang="cs-CZ" sz="1600" b="1" dirty="0">
                <a:solidFill>
                  <a:schemeClr val="tx1"/>
                </a:solidFill>
              </a:rPr>
              <a:t>(„naivní“ case fatality </a:t>
            </a:r>
            <a:r>
              <a:rPr lang="cs-CZ" sz="1600" b="1" dirty="0" err="1">
                <a:solidFill>
                  <a:schemeClr val="tx1"/>
                </a:solidFill>
              </a:rPr>
              <a:t>rate</a:t>
            </a:r>
            <a:r>
              <a:rPr lang="cs-CZ" sz="1600" b="1" dirty="0">
                <a:solidFill>
                  <a:schemeClr val="tx1"/>
                </a:solidFill>
              </a:rPr>
              <a:t>, </a:t>
            </a:r>
            <a:br>
              <a:rPr lang="cs-CZ" sz="1600" b="1" dirty="0">
                <a:solidFill>
                  <a:schemeClr val="tx1"/>
                </a:solidFill>
              </a:rPr>
            </a:br>
            <a:r>
              <a:rPr lang="cs-CZ" sz="1600" b="1" dirty="0">
                <a:solidFill>
                  <a:schemeClr val="tx1"/>
                </a:solidFill>
              </a:rPr>
              <a:t>v případě rychlého růstu počtu případů je nezbytná opatrná interpretace).</a:t>
            </a:r>
          </a:p>
          <a:p>
            <a:pPr algn="ctr"/>
            <a:endParaRPr lang="cs-CZ" sz="1600" b="1" dirty="0">
              <a:solidFill>
                <a:schemeClr val="tx1"/>
              </a:solidFill>
            </a:endParaRPr>
          </a:p>
          <a:p>
            <a:pPr algn="ctr"/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potvrzených případů a počtu úmrtí za 51. a 52. týden roku 2021, a proto nebyla tato země do analýzy zahrnuta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měr úmrtí a potvrzených případů onemocnění v zemích EU, EHP a Velké Británii </a:t>
            </a:r>
            <a:r>
              <a:rPr lang="cs-CZ" sz="2000" u="sng" dirty="0">
                <a:latin typeface="+mj-lt"/>
              </a:rPr>
              <a:t>od začátku epidemie</a:t>
            </a:r>
          </a:p>
        </p:txBody>
      </p:sp>
      <p:sp>
        <p:nvSpPr>
          <p:cNvPr id="11" name="Obdélník 10"/>
          <p:cNvSpPr/>
          <p:nvPr>
            <p:custDataLst>
              <p:tags r:id="rId4"/>
            </p:custDataLst>
          </p:nvPr>
        </p:nvSpPr>
        <p:spPr>
          <a:xfrm rot="16200000">
            <a:off x="3389782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14" name="TextovéPole 13"/>
          <p:cNvSpPr txBox="1"/>
          <p:nvPr/>
        </p:nvSpPr>
        <p:spPr>
          <a:xfrm>
            <a:off x="5321102" y="1050408"/>
            <a:ext cx="651636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rozdílné testovací strategie. Státy také rozdílně v čase aktualizují publikovaná data. Vedle možných rozdílů </a:t>
            </a:r>
            <a:br>
              <a:rPr lang="cs-CZ" sz="1400" i="1" dirty="0"/>
            </a:br>
            <a:r>
              <a:rPr lang="cs-CZ" sz="1400" i="1" dirty="0"/>
              <a:t>v dostupnosti a úspěšnosti léčebné péče může ukazatel svědčit zejména </a:t>
            </a:r>
          </a:p>
          <a:p>
            <a:pPr algn="r"/>
            <a:r>
              <a:rPr lang="cs-CZ" sz="1400" i="1" dirty="0"/>
              <a:t>o relativním „</a:t>
            </a:r>
            <a:r>
              <a:rPr lang="cs-CZ" sz="1400" i="1" dirty="0" err="1"/>
              <a:t>podhlášení</a:t>
            </a:r>
            <a:r>
              <a:rPr lang="cs-CZ" sz="1400" i="1" dirty="0"/>
              <a:t>“ počtu případů nebo naopak zemřelých.</a:t>
            </a:r>
          </a:p>
        </p:txBody>
      </p:sp>
    </p:spTree>
    <p:extLst>
      <p:ext uri="{BB962C8B-B14F-4D97-AF65-F5344CB8AC3E}">
        <p14:creationId xmlns:p14="http://schemas.microsoft.com/office/powerpoint/2010/main" val="2523790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4196029"/>
            <a:ext cx="9553575" cy="1564691"/>
          </a:xfrm>
        </p:spPr>
        <p:txBody>
          <a:bodyPr>
            <a:normAutofit/>
          </a:bodyPr>
          <a:lstStyle/>
          <a:p>
            <a:r>
              <a:rPr lang="cs-CZ" sz="4800" b="1" dirty="0"/>
              <a:t>Očkování v mezinárodním srovnání</a:t>
            </a:r>
          </a:p>
        </p:txBody>
      </p:sp>
    </p:spTree>
    <p:extLst>
      <p:ext uri="{BB962C8B-B14F-4D97-AF65-F5344CB8AC3E}">
        <p14:creationId xmlns:p14="http://schemas.microsoft.com/office/powerpoint/2010/main" val="129113640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7463" y="3088104"/>
            <a:ext cx="45865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očkováním z počtu obyvatel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128046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19773" y="2762250"/>
            <a:ext cx="3156144" cy="294230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podíl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osob s vykázaným očkováním 1. dávkou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5.1. 2022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vykázaným očkováním </a:t>
            </a:r>
            <a:r>
              <a:rPr lang="cs-CZ" sz="2000" u="sng" dirty="0">
                <a:latin typeface="+mj-lt"/>
              </a:rPr>
              <a:t>1. dávkou</a:t>
            </a:r>
            <a:r>
              <a:rPr lang="cs-CZ" sz="2000" dirty="0">
                <a:latin typeface="+mj-lt"/>
              </a:rPr>
              <a:t> v zemích EU a EHP</a:t>
            </a:r>
          </a:p>
        </p:txBody>
      </p:sp>
      <p:sp>
        <p:nvSpPr>
          <p:cNvPr id="11" name="Obdélník 10"/>
          <p:cNvSpPr/>
          <p:nvPr>
            <p:custDataLst>
              <p:tags r:id="rId3"/>
            </p:custDataLst>
          </p:nvPr>
        </p:nvSpPr>
        <p:spPr>
          <a:xfrm rot="16200000">
            <a:off x="5959783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6.1. 2022</a:t>
            </a:r>
          </a:p>
        </p:txBody>
      </p:sp>
      <p:sp>
        <p:nvSpPr>
          <p:cNvPr id="2" name="Obdélník 1"/>
          <p:cNvSpPr/>
          <p:nvPr/>
        </p:nvSpPr>
        <p:spPr>
          <a:xfrm>
            <a:off x="6525428" y="927456"/>
            <a:ext cx="444737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i="1" dirty="0"/>
              <a:t>Členské státy mohou hlásit údaje kdykoli, požaduje se však od nich, aby to učinily alespoň dvakrát týdně. S ohledem na tento fakt lze pozorovat určité nesrovnalosti mezi čísly zveřejněnými ECDC a údaji uvedenými na oficiálních webových stránkách jednotlivých zemí. </a:t>
            </a:r>
          </a:p>
        </p:txBody>
      </p:sp>
    </p:spTree>
    <p:extLst>
      <p:ext uri="{BB962C8B-B14F-4D97-AF65-F5344CB8AC3E}">
        <p14:creationId xmlns:p14="http://schemas.microsoft.com/office/powerpoint/2010/main" val="228567675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1072555"/>
              </p:ext>
            </p:extLst>
          </p:nvPr>
        </p:nvGraphicFramePr>
        <p:xfrm>
          <a:off x="775744" y="840581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očkováním 1. dávkou z počtu obyvatel ve věku 18 a více let</a:t>
                      </a:r>
                      <a:r>
                        <a:rPr lang="cs-CZ" sz="1300" b="1" baseline="0" dirty="0"/>
                        <a:t> do 5.1. 2022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á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rtuga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5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lt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3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3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slan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2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paněl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2,8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rancie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2,4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i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0,2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tál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9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lg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9,2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izozem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9,1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ěmec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8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véd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7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ypr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5,6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</a:t>
            </a:r>
            <a:r>
              <a:rPr lang="cs-CZ" sz="2000" dirty="0"/>
              <a:t>vykázaným </a:t>
            </a:r>
            <a:r>
              <a:rPr lang="cs-CZ" sz="2000" dirty="0">
                <a:latin typeface="+mj-lt"/>
              </a:rPr>
              <a:t>očkováním </a:t>
            </a:r>
            <a:r>
              <a:rPr lang="cs-CZ" sz="2000" u="sng" dirty="0">
                <a:latin typeface="+mj-lt"/>
              </a:rPr>
              <a:t>1. dávkou</a:t>
            </a:r>
            <a:r>
              <a:rPr lang="cs-CZ" sz="2000" dirty="0">
                <a:latin typeface="+mj-lt"/>
              </a:rPr>
              <a:t> v zemích EU a EHP</a:t>
            </a:r>
            <a:endParaRPr lang="cs-CZ" sz="2000" u="sng" dirty="0">
              <a:latin typeface="+mj-lt"/>
            </a:endParaRP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223221"/>
              </p:ext>
            </p:extLst>
          </p:nvPr>
        </p:nvGraphicFramePr>
        <p:xfrm>
          <a:off x="6058960" y="857516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očkováním 1. dávkou z počtu obyvatel ve věku 18 a více let</a:t>
                      </a:r>
                      <a:r>
                        <a:rPr lang="cs-CZ" sz="1300" b="1" baseline="0" dirty="0"/>
                        <a:t> do 5.1. 2022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akou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3,9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ucembur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2,6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ec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0,8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tva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0,0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chtenštej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8,9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otyš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6,8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.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Česká republika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4,3 %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sto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3,6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ďar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2,4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i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9,6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horvat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6,3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5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e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9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umu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9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ulh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4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405521"/>
                  </a:ext>
                </a:extLst>
              </a:tr>
            </a:tbl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554588" y="633516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6.1. 2022</a:t>
            </a:r>
          </a:p>
        </p:txBody>
      </p:sp>
    </p:spTree>
    <p:extLst>
      <p:ext uri="{BB962C8B-B14F-4D97-AF65-F5344CB8AC3E}">
        <p14:creationId xmlns:p14="http://schemas.microsoft.com/office/powerpoint/2010/main" val="222909177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7463" y="3088104"/>
            <a:ext cx="45865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očkováním z počtu obyvatel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318403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19773" y="2762250"/>
            <a:ext cx="3156144" cy="294230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podíl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osob s vykázaným úplným očkováním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5.1. 2022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vykázaným </a:t>
            </a:r>
            <a:r>
              <a:rPr lang="cs-CZ" sz="2000" u="sng" dirty="0">
                <a:latin typeface="+mj-lt"/>
              </a:rPr>
              <a:t>úplným</a:t>
            </a:r>
            <a:r>
              <a:rPr lang="cs-CZ" sz="2000" dirty="0">
                <a:latin typeface="+mj-lt"/>
              </a:rPr>
              <a:t> očkováním v zemích EU a EHP</a:t>
            </a:r>
          </a:p>
        </p:txBody>
      </p:sp>
      <p:sp>
        <p:nvSpPr>
          <p:cNvPr id="11" name="Obdélník 10"/>
          <p:cNvSpPr/>
          <p:nvPr>
            <p:custDataLst>
              <p:tags r:id="rId3"/>
            </p:custDataLst>
          </p:nvPr>
        </p:nvSpPr>
        <p:spPr>
          <a:xfrm rot="16200000">
            <a:off x="5961474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6.1. 2022</a:t>
            </a:r>
          </a:p>
        </p:txBody>
      </p:sp>
      <p:sp>
        <p:nvSpPr>
          <p:cNvPr id="15" name="Obdélník 14"/>
          <p:cNvSpPr/>
          <p:nvPr/>
        </p:nvSpPr>
        <p:spPr>
          <a:xfrm>
            <a:off x="6525428" y="927456"/>
            <a:ext cx="444737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i="1" dirty="0"/>
              <a:t>Členské státy mohou hlásit údaje kdykoli, požaduje se však od nich, aby to učinily alespoň dvakrát týdně. S ohledem na tento fakt lze pozorovat určité nesrovnalosti mezi čísly zveřejněnými ECDC a údaji uvedenými na oficiálních webových stránkách jednotlivých zemí. </a:t>
            </a:r>
          </a:p>
        </p:txBody>
      </p:sp>
    </p:spTree>
    <p:extLst>
      <p:ext uri="{BB962C8B-B14F-4D97-AF65-F5344CB8AC3E}">
        <p14:creationId xmlns:p14="http://schemas.microsoft.com/office/powerpoint/2010/main" val="153339239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7959123"/>
              </p:ext>
            </p:extLst>
          </p:nvPr>
        </p:nvGraphicFramePr>
        <p:xfrm>
          <a:off x="775744" y="840581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úplným očkováním z počtu obyvatel ve věku 18 a více let</a:t>
                      </a:r>
                      <a:r>
                        <a:rPr lang="cs-CZ" sz="1300" b="1" baseline="0" dirty="0"/>
                        <a:t> do 5.1. 2022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á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8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4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rtuga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3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lt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2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slan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1,9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r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9,8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lgie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8,2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rancie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7,2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i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6,3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paněl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5,5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ěmec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5,2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véd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4,9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yp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4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83369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tál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3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izozem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2,1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vykázaným </a:t>
            </a:r>
            <a:r>
              <a:rPr lang="cs-CZ" sz="2000" u="sng" dirty="0">
                <a:latin typeface="+mj-lt"/>
              </a:rPr>
              <a:t>úplným</a:t>
            </a:r>
            <a:r>
              <a:rPr lang="cs-CZ" sz="2000" dirty="0">
                <a:latin typeface="+mj-lt"/>
              </a:rPr>
              <a:t> očkováním v zemích EU a EHP</a:t>
            </a:r>
            <a:endParaRPr lang="cs-CZ" sz="2000" u="sng" dirty="0">
              <a:latin typeface="+mj-lt"/>
            </a:endParaRP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5398253"/>
              </p:ext>
            </p:extLst>
          </p:nvPr>
        </p:nvGraphicFramePr>
        <p:xfrm>
          <a:off x="6058960" y="857516"/>
          <a:ext cx="5013663" cy="5227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>
                          <a:latin typeface="+mj-lt"/>
                        </a:rPr>
                        <a:t>Pořadí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>
                          <a:latin typeface="+mj-lt"/>
                        </a:rPr>
                        <a:t>Země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úplným očkováním z počtu obyvatel ve věku 18 a více let</a:t>
                      </a:r>
                      <a:r>
                        <a:rPr lang="cs-CZ" sz="1300" b="1" baseline="0" dirty="0"/>
                        <a:t> do 5.1. 2022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akou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0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ucembur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9,8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tva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7,0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ec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6,7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otyš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4,2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chtenštej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4,0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.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Česká republika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2,8 %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sto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0,2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ďar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9,7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i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7,0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l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4,5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horvat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3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e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7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umu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8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ulh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56862735"/>
                  </a:ext>
                </a:extLst>
              </a:tr>
            </a:tbl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554588" y="633516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6.1. 2022</a:t>
            </a:r>
          </a:p>
        </p:txBody>
      </p:sp>
    </p:spTree>
    <p:extLst>
      <p:ext uri="{BB962C8B-B14F-4D97-AF65-F5344CB8AC3E}">
        <p14:creationId xmlns:p14="http://schemas.microsoft.com/office/powerpoint/2010/main" val="343446215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6.1. 2022</a:t>
            </a:r>
          </a:p>
        </p:txBody>
      </p:sp>
      <p:sp>
        <p:nvSpPr>
          <p:cNvPr id="15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828333" y="2709333"/>
            <a:ext cx="3156144" cy="306883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</a:t>
            </a:r>
            <a:r>
              <a:rPr lang="cs-CZ" sz="1600" b="1" u="sng" dirty="0">
                <a:solidFill>
                  <a:schemeClr val="tx1"/>
                </a:solidFill>
              </a:rPr>
              <a:t> podíl</a:t>
            </a:r>
            <a:r>
              <a:rPr lang="cs-CZ" sz="1600" dirty="0">
                <a:solidFill>
                  <a:schemeClr val="tx1"/>
                </a:solidFill>
              </a:rPr>
              <a:t> osob s vykázaným očkováním 1. dávkou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</a:t>
            </a:r>
            <a:r>
              <a:rPr lang="cs-CZ" sz="1600" u="sng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a </a:t>
            </a:r>
            <a:r>
              <a:rPr lang="cs-CZ" sz="1600" b="1" u="sng" dirty="0">
                <a:solidFill>
                  <a:schemeClr val="tx1"/>
                </a:solidFill>
              </a:rPr>
              <a:t>podíl </a:t>
            </a:r>
            <a:r>
              <a:rPr lang="cs-CZ" sz="1600" dirty="0">
                <a:solidFill>
                  <a:schemeClr val="tx1"/>
                </a:solidFill>
              </a:rPr>
              <a:t>osob s vykázaným úplným očkováním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</a:t>
            </a:r>
            <a:r>
              <a:rPr lang="cs-CZ" sz="1600" dirty="0">
                <a:solidFill>
                  <a:schemeClr val="tx1"/>
                </a:solidFill>
              </a:rPr>
              <a:t> do 5.1. 2022.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2042482" y="3387735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úplným očkováním z počtu obyvatel</a:t>
            </a:r>
          </a:p>
        </p:txBody>
      </p:sp>
      <p:graphicFrame>
        <p:nvGraphicFramePr>
          <p:cNvPr id="17" name="Zástupný symbol pro obsah 6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93000736"/>
              </p:ext>
            </p:extLst>
          </p:nvPr>
        </p:nvGraphicFramePr>
        <p:xfrm>
          <a:off x="532014" y="1233288"/>
          <a:ext cx="7601681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>
            <a:off x="723208" y="6412408"/>
            <a:ext cx="73900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očkováním 1. dávkou z počtu obyvatel</a:t>
            </a:r>
          </a:p>
        </p:txBody>
      </p:sp>
      <p:sp>
        <p:nvSpPr>
          <p:cNvPr id="11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Srovnání podílů osob s vykázaným očkováním 1. dávkou a osob s vykázaným úplným očkováním v zemích EU a EHP</a:t>
            </a:r>
            <a:endParaRPr lang="cs-CZ" sz="2000" u="sng" dirty="0">
              <a:latin typeface="+mj-lt"/>
            </a:endParaRPr>
          </a:p>
        </p:txBody>
      </p:sp>
      <p:sp>
        <p:nvSpPr>
          <p:cNvPr id="13" name="Obdélník 12"/>
          <p:cNvSpPr/>
          <p:nvPr/>
        </p:nvSpPr>
        <p:spPr>
          <a:xfrm>
            <a:off x="5104019" y="690389"/>
            <a:ext cx="707577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i="1" dirty="0"/>
              <a:t>Členské státy mohou reportovat údaje kdykoli, požaduje se však od nich, aby to učinily alespoň dvakrát týdně. S ohledem na tento fakt lze pozorovat určité nesrovnalosti mezi čísly zveřejněnými ECDC a údaji uvedenými na oficiálních webových stránkách jednotlivých zemí. </a:t>
            </a:r>
          </a:p>
        </p:txBody>
      </p:sp>
    </p:spTree>
    <p:extLst>
      <p:ext uri="{BB962C8B-B14F-4D97-AF65-F5344CB8AC3E}">
        <p14:creationId xmlns:p14="http://schemas.microsoft.com/office/powerpoint/2010/main" val="358733757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ovéPole 11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7463" y="3088104"/>
            <a:ext cx="45865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díl osob s vykázaným očkováním z počtu obyvatel</a:t>
            </a:r>
          </a:p>
        </p:txBody>
      </p:sp>
      <p:graphicFrame>
        <p:nvGraphicFramePr>
          <p:cNvPr id="13" name="Zástupný symbol pro obsah 6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8527465"/>
              </p:ext>
            </p:extLst>
          </p:nvPr>
        </p:nvGraphicFramePr>
        <p:xfrm>
          <a:off x="1058400" y="986400"/>
          <a:ext cx="7678800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19773" y="2762250"/>
            <a:ext cx="3156144" cy="294230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podíl</a:t>
            </a:r>
            <a:r>
              <a:rPr lang="cs-CZ" sz="1600" b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osob s vykázaným očkováním posilující dávkou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</a:t>
            </a:r>
            <a:r>
              <a:rPr lang="cs-CZ" sz="1600" dirty="0">
                <a:solidFill>
                  <a:schemeClr val="tx1"/>
                </a:solidFill>
              </a:rPr>
              <a:t> do 5.1. 2022.</a:t>
            </a:r>
          </a:p>
        </p:txBody>
      </p:sp>
      <p:sp>
        <p:nvSpPr>
          <p:cNvPr id="10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vykázaným očkováním </a:t>
            </a:r>
            <a:r>
              <a:rPr lang="cs-CZ" sz="2000" u="sng" dirty="0">
                <a:latin typeface="+mj-lt"/>
              </a:rPr>
              <a:t>posilující dávkou</a:t>
            </a:r>
            <a:r>
              <a:rPr lang="cs-CZ" sz="2000" dirty="0">
                <a:latin typeface="+mj-lt"/>
              </a:rPr>
              <a:t> v zemích EU a EHP</a:t>
            </a:r>
          </a:p>
        </p:txBody>
      </p:sp>
      <p:sp>
        <p:nvSpPr>
          <p:cNvPr id="11" name="Obdélník 10"/>
          <p:cNvSpPr/>
          <p:nvPr>
            <p:custDataLst>
              <p:tags r:id="rId3"/>
            </p:custDataLst>
          </p:nvPr>
        </p:nvSpPr>
        <p:spPr>
          <a:xfrm rot="16200000">
            <a:off x="5261515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6.1. 2022</a:t>
            </a:r>
          </a:p>
        </p:txBody>
      </p:sp>
      <p:sp>
        <p:nvSpPr>
          <p:cNvPr id="2" name="Obdélník 1"/>
          <p:cNvSpPr/>
          <p:nvPr/>
        </p:nvSpPr>
        <p:spPr>
          <a:xfrm>
            <a:off x="6525428" y="927456"/>
            <a:ext cx="444737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i="1" dirty="0"/>
              <a:t>Členské státy mohou hlásit údaje kdykoli, požaduje se však od nich, aby to učinily alespoň dvakrát týdně. S ohledem na tento fakt lze pozorovat určité nesrovnalosti mezi čísly zveřejněnými ECDC a údaji uvedenými na oficiálních webových stránkách jednotlivých zemí. </a:t>
            </a:r>
          </a:p>
        </p:txBody>
      </p:sp>
    </p:spTree>
    <p:extLst>
      <p:ext uri="{BB962C8B-B14F-4D97-AF65-F5344CB8AC3E}">
        <p14:creationId xmlns:p14="http://schemas.microsoft.com/office/powerpoint/2010/main" val="33042258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3693109"/>
            <a:ext cx="9553575" cy="1253795"/>
          </a:xfrm>
        </p:spPr>
        <p:txBody>
          <a:bodyPr>
            <a:normAutofit/>
          </a:bodyPr>
          <a:lstStyle/>
          <a:p>
            <a:r>
              <a:rPr lang="cs-CZ" sz="4800" b="1" dirty="0"/>
              <a:t>Počty nově diagnostikovaných 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658368" y="4946904"/>
            <a:ext cx="10387584" cy="707886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000" b="1" dirty="0">
                <a:solidFill>
                  <a:schemeClr val="bg1"/>
                </a:solidFill>
              </a:rPr>
              <a:t>Počty nově vykázaných diagnóz závisí na počtech testů – nejednotnost strategií testování činí tato data mezinárodně téměř nesrovnatelná </a:t>
            </a:r>
          </a:p>
        </p:txBody>
      </p:sp>
    </p:spTree>
    <p:extLst>
      <p:ext uri="{BB962C8B-B14F-4D97-AF65-F5344CB8AC3E}">
        <p14:creationId xmlns:p14="http://schemas.microsoft.com/office/powerpoint/2010/main" val="262640186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ulka 9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1817875"/>
              </p:ext>
            </p:extLst>
          </p:nvPr>
        </p:nvGraphicFramePr>
        <p:xfrm>
          <a:off x="775744" y="840581"/>
          <a:ext cx="5013663" cy="54254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očkováním posilující dávkou z počtu obyvatel ve věku 18 a více let</a:t>
                      </a:r>
                      <a:r>
                        <a:rPr lang="cs-CZ" sz="1300" b="1" baseline="0" dirty="0"/>
                        <a:t> do 5.1. 2022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slan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9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á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3,4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8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akou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3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lt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3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elg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8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ěmec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6,8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rancie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5,9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ypr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1,2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ucembu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0,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ec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0,4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ďar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9,0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tál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8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chtenštej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7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r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6,6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díl osob s </a:t>
            </a:r>
            <a:r>
              <a:rPr lang="cs-CZ" sz="2000" dirty="0"/>
              <a:t>vykázaným </a:t>
            </a:r>
            <a:r>
              <a:rPr lang="cs-CZ" sz="2000" dirty="0">
                <a:latin typeface="+mj-lt"/>
              </a:rPr>
              <a:t>očkováním </a:t>
            </a:r>
            <a:r>
              <a:rPr lang="cs-CZ" sz="2000" u="sng" dirty="0">
                <a:latin typeface="+mj-lt"/>
              </a:rPr>
              <a:t>posilující dávkou</a:t>
            </a:r>
            <a:r>
              <a:rPr lang="cs-CZ" sz="2000" dirty="0">
                <a:latin typeface="+mj-lt"/>
              </a:rPr>
              <a:t> v zemích EU a EHP</a:t>
            </a:r>
            <a:endParaRPr lang="cs-CZ" sz="2000" u="sng" dirty="0">
              <a:latin typeface="+mj-lt"/>
            </a:endParaRP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6342747"/>
              </p:ext>
            </p:extLst>
          </p:nvPr>
        </p:nvGraphicFramePr>
        <p:xfrm>
          <a:off x="6058960" y="857516"/>
          <a:ext cx="5013663" cy="54254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82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3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8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>
                  <a:txBody>
                    <a:bodyPr/>
                    <a:lstStyle/>
                    <a:p>
                      <a:pPr algn="l"/>
                      <a:r>
                        <a:rPr lang="cs-CZ" sz="1300" dirty="0"/>
                        <a:t>Pořadí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/>
                        <a:t>Země</a:t>
                      </a:r>
                      <a:endParaRPr lang="cs-CZ" sz="13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/>
                        <a:t>Podíl osob s vykázaným očkováním posilující dávkou z počtu obyvatel ve věku 18 a více let</a:t>
                      </a:r>
                      <a:r>
                        <a:rPr lang="cs-CZ" sz="1300" b="1" baseline="0" dirty="0"/>
                        <a:t> do 5.1. 2022</a:t>
                      </a:r>
                      <a:endParaRPr lang="cs-CZ" sz="13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rtugal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4,9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izozem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,4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véd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,9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Česká republika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,8 %</a:t>
                      </a:r>
                    </a:p>
                  </a:txBody>
                  <a:tcPr marL="9525" marR="9525" marT="9525" marB="0" anchor="ctr">
                    <a:solidFill>
                      <a:srgbClr val="F797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tva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,5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sto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,2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in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,1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i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,1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l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,2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.</a:t>
                      </a:r>
                    </a:p>
                  </a:txBody>
                  <a:tcPr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lovensko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,7 %</a:t>
                      </a:r>
                    </a:p>
                  </a:txBody>
                  <a:tcPr marL="9525" marR="9525" marT="9525" marB="0" anchor="ctr">
                    <a:solidFill>
                      <a:srgbClr val="E8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</a:t>
                      </a:r>
                    </a:p>
                  </a:txBody>
                  <a:tcPr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otyšsko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,3 %</a:t>
                      </a:r>
                    </a:p>
                  </a:txBody>
                  <a:tcPr marL="9525" marR="9525" marT="9525" marB="0" anchor="ctr">
                    <a:solidFill>
                      <a:srgbClr val="CDD1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Španěl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,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horvat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,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umun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,3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ulharsk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405521"/>
                  </a:ext>
                </a:extLst>
              </a:tr>
            </a:tbl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554588" y="633516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6.1. 2022</a:t>
            </a:r>
          </a:p>
        </p:txBody>
      </p:sp>
    </p:spTree>
    <p:extLst>
      <p:ext uri="{BB962C8B-B14F-4D97-AF65-F5344CB8AC3E}">
        <p14:creationId xmlns:p14="http://schemas.microsoft.com/office/powerpoint/2010/main" val="123197742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6.1. 2022</a:t>
            </a:r>
          </a:p>
        </p:txBody>
      </p:sp>
      <p:sp>
        <p:nvSpPr>
          <p:cNvPr id="15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828333" y="2709333"/>
            <a:ext cx="3156144" cy="306883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</a:t>
            </a:r>
            <a:r>
              <a:rPr lang="cs-CZ" sz="1600" b="1" u="sng" dirty="0">
                <a:solidFill>
                  <a:schemeClr val="tx1"/>
                </a:solidFill>
              </a:rPr>
              <a:t> podíl</a:t>
            </a:r>
            <a:r>
              <a:rPr lang="cs-CZ" sz="1600" dirty="0">
                <a:solidFill>
                  <a:schemeClr val="tx1"/>
                </a:solidFill>
              </a:rPr>
              <a:t> osob s vykázaným úplným očkováním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</a:t>
            </a:r>
            <a:r>
              <a:rPr lang="cs-CZ" sz="1600" u="sng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a </a:t>
            </a:r>
            <a:r>
              <a:rPr lang="cs-CZ" sz="1600" b="1" u="sng" dirty="0">
                <a:solidFill>
                  <a:schemeClr val="tx1"/>
                </a:solidFill>
              </a:rPr>
              <a:t>podíl </a:t>
            </a:r>
            <a:r>
              <a:rPr lang="cs-CZ" sz="1600" dirty="0">
                <a:solidFill>
                  <a:schemeClr val="tx1"/>
                </a:solidFill>
              </a:rPr>
              <a:t>osob s vykázaným očkováním posilující dávkou </a:t>
            </a:r>
            <a:r>
              <a:rPr lang="cs-CZ" sz="1600" b="1" u="sng" dirty="0">
                <a:solidFill>
                  <a:schemeClr val="tx1"/>
                </a:solidFill>
              </a:rPr>
              <a:t>z počtu obyvatel ve věku 18 a více let</a:t>
            </a:r>
            <a:r>
              <a:rPr lang="cs-CZ" sz="1600" dirty="0">
                <a:solidFill>
                  <a:schemeClr val="tx1"/>
                </a:solidFill>
              </a:rPr>
              <a:t> do 5.1. 2022.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836878" y="3624115"/>
            <a:ext cx="454401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Podíl osob s vykázaným úplným očkováním z počtu obyvatel</a:t>
            </a:r>
          </a:p>
        </p:txBody>
      </p:sp>
      <p:graphicFrame>
        <p:nvGraphicFramePr>
          <p:cNvPr id="17" name="Zástupný symbol pro obsah 6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36005922"/>
              </p:ext>
            </p:extLst>
          </p:nvPr>
        </p:nvGraphicFramePr>
        <p:xfrm>
          <a:off x="613958" y="1414800"/>
          <a:ext cx="7601681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>
            <a:off x="825625" y="6489572"/>
            <a:ext cx="73900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Podíl osob s vykázaným očkováním posilující dávkou z počtu obyvatel</a:t>
            </a:r>
          </a:p>
        </p:txBody>
      </p:sp>
      <p:sp>
        <p:nvSpPr>
          <p:cNvPr id="11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 fontScale="90000"/>
          </a:bodyPr>
          <a:lstStyle/>
          <a:p>
            <a:r>
              <a:rPr lang="cs-CZ" sz="2000" dirty="0">
                <a:latin typeface="+mj-lt"/>
              </a:rPr>
              <a:t>Srovnání podílů osob s vykázaným úplným očkováním a osob s vykázaným očkováním posilující dávkou v zemích EU a EHP</a:t>
            </a:r>
            <a:endParaRPr lang="cs-CZ" sz="2000" u="sng" dirty="0">
              <a:latin typeface="+mj-lt"/>
            </a:endParaRPr>
          </a:p>
        </p:txBody>
      </p:sp>
      <p:sp>
        <p:nvSpPr>
          <p:cNvPr id="13" name="Obdélník 12"/>
          <p:cNvSpPr/>
          <p:nvPr/>
        </p:nvSpPr>
        <p:spPr>
          <a:xfrm>
            <a:off x="5104019" y="690389"/>
            <a:ext cx="707577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i="1" dirty="0"/>
              <a:t>Členské státy mohou reportovat údaje kdykoli, požaduje se však od nich, aby to učinily alespoň dvakrát týdně. S ohledem na tento fakt lze pozorovat určité nesrovnalosti mezi čísly zveřejněnými ECDC a údaji uvedenými na oficiálních webových stránkách jednotlivých zemí. </a:t>
            </a:r>
          </a:p>
        </p:txBody>
      </p:sp>
    </p:spTree>
    <p:extLst>
      <p:ext uri="{BB962C8B-B14F-4D97-AF65-F5344CB8AC3E}">
        <p14:creationId xmlns:p14="http://schemas.microsoft.com/office/powerpoint/2010/main" val="26385146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1944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 Evropě se epidemická situace zhoršuje</a:t>
            </a:r>
          </a:p>
        </p:txBody>
      </p:sp>
      <p:sp>
        <p:nvSpPr>
          <p:cNvPr id="13" name="TextovéPole 12"/>
          <p:cNvSpPr txBox="1"/>
          <p:nvPr>
            <p:custDataLst>
              <p:tags r:id="rId1"/>
            </p:custDataLst>
          </p:nvPr>
        </p:nvSpPr>
        <p:spPr>
          <a:xfrm>
            <a:off x="173582" y="1010209"/>
            <a:ext cx="319615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cs-CZ" sz="2200" b="1" dirty="0">
                <a:solidFill>
                  <a:srgbClr val="C00000"/>
                </a:solidFill>
                <a:latin typeface="Calibri" panose="020F0502020204030204"/>
              </a:rPr>
              <a:t>Mapa shrnuje aktualizovaná data ECDC k 2. 1. 2022.  </a:t>
            </a:r>
            <a:endParaRPr lang="cs-CZ" sz="2200" dirty="0">
              <a:solidFill>
                <a:srgbClr val="C00000"/>
              </a:solidFill>
              <a:latin typeface="Calibri" panose="020F0502020204030204"/>
            </a:endParaRP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67837D57-ADE4-4B27-82FF-F6C07EA78DD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16747" y="714894"/>
            <a:ext cx="8627762" cy="60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65445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737201" y="2313138"/>
            <a:ext cx="3200092" cy="358813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14denní kumulativní počet </a:t>
            </a:r>
            <a:r>
              <a:rPr lang="cs-CZ" sz="1600" dirty="0">
                <a:solidFill>
                  <a:schemeClr val="tx1"/>
                </a:solidFill>
              </a:rPr>
              <a:t>potvrzených případů onemocnění </a:t>
            </a:r>
            <a:r>
              <a:rPr lang="cs-CZ" sz="1600" b="1" u="sng" dirty="0">
                <a:solidFill>
                  <a:schemeClr val="tx1"/>
                </a:solidFill>
              </a:rPr>
              <a:t>přepočítaný na 100 tisíc osob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k 19.12. 2021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a 2.1. 2022.</a:t>
            </a:r>
          </a:p>
          <a:p>
            <a:pPr algn="ctr"/>
            <a:endParaRPr lang="cs-CZ" sz="1600" dirty="0">
              <a:solidFill>
                <a:schemeClr val="tx1"/>
              </a:solidFill>
            </a:endParaRPr>
          </a:p>
          <a:p>
            <a:pPr algn="ctr"/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potvrzených případů za 51. a 52. týden roku 2021, a proto nebyla tato země do analýzy zahrnuta.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330958" y="3264096"/>
            <a:ext cx="41323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14denní kumulativní počet případů onemocnění na 100 tisíc osob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9383532" y="5986979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6.1. 2022</a:t>
            </a:r>
          </a:p>
        </p:txBody>
      </p:sp>
      <p:graphicFrame>
        <p:nvGraphicFramePr>
          <p:cNvPr id="9" name="Zástupný symbol pro obsah 6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57888968"/>
              </p:ext>
            </p:extLst>
          </p:nvPr>
        </p:nvGraphicFramePr>
        <p:xfrm>
          <a:off x="1058400" y="985421"/>
          <a:ext cx="7678800" cy="54441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2665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očet potvrzených případů onemocnění v zemích EU, EHP </a:t>
            </a:r>
            <a:br>
              <a:rPr lang="cs-CZ" sz="2000" dirty="0">
                <a:latin typeface="+mj-lt"/>
              </a:rPr>
            </a:br>
            <a:r>
              <a:rPr lang="cs-CZ" sz="2000" dirty="0">
                <a:latin typeface="+mj-lt"/>
              </a:rPr>
              <a:t>a Velké Británii (14denní kumulativní počet)</a:t>
            </a:r>
          </a:p>
        </p:txBody>
      </p:sp>
      <p:sp>
        <p:nvSpPr>
          <p:cNvPr id="12" name="Obdélník 11"/>
          <p:cNvSpPr/>
          <p:nvPr>
            <p:custDataLst>
              <p:tags r:id="rId4"/>
            </p:custDataLst>
          </p:nvPr>
        </p:nvSpPr>
        <p:spPr>
          <a:xfrm rot="16200000">
            <a:off x="6222670" y="588431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7534656" y="1574473"/>
            <a:ext cx="428307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zejména rozdílné testovací strategie. Státy také různě v čase aktualizují publikovaná data.</a:t>
            </a:r>
          </a:p>
        </p:txBody>
      </p:sp>
    </p:spTree>
    <p:extLst>
      <p:ext uri="{BB962C8B-B14F-4D97-AF65-F5344CB8AC3E}">
        <p14:creationId xmlns:p14="http://schemas.microsoft.com/office/powerpoint/2010/main" val="26203659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6.1. 2022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3757178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14 denní kumulativní počet případů onemocnění 100 tisíc osob</a:t>
            </a:r>
          </a:p>
        </p:txBody>
      </p:sp>
      <p:sp>
        <p:nvSpPr>
          <p:cNvPr id="15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70847" y="1769533"/>
            <a:ext cx="2904485" cy="438148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14denního kumulativního</a:t>
            </a:r>
            <a:r>
              <a:rPr lang="cs-CZ" sz="1600" dirty="0">
                <a:solidFill>
                  <a:schemeClr val="tx1"/>
                </a:solidFill>
              </a:rPr>
              <a:t> počtu potvrzených případů onemocnění od 1. týdne roku 2021 (4.1.—10.1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52. týdne roku 2021 (27.12.—2.1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  <a:p>
            <a:pPr algn="ctr"/>
            <a:endParaRPr lang="cs-CZ" sz="1600" b="1" u="sng" dirty="0">
              <a:solidFill>
                <a:schemeClr val="tx1"/>
              </a:solidFill>
            </a:endParaRPr>
          </a:p>
          <a:p>
            <a:pPr algn="ctr"/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potvrzených případů za 51. a 52. týden roku 2021, a proto byla u této země analýza provedena jen do 50. týdne roku 2021.</a:t>
            </a:r>
            <a:endParaRPr lang="cs-CZ" sz="1100" b="1" u="sng" dirty="0">
              <a:solidFill>
                <a:schemeClr val="tx1"/>
              </a:solidFill>
            </a:endParaRPr>
          </a:p>
          <a:p>
            <a:pPr algn="ctr"/>
            <a:endParaRPr lang="cs-CZ" sz="1600" b="1" u="sng" dirty="0">
              <a:solidFill>
                <a:schemeClr val="tx1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/>
        </p:nvSpPr>
        <p:spPr>
          <a:xfrm>
            <a:off x="8295785" y="4407456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3">
                    <a:lumMod val="50000"/>
                  </a:schemeClr>
                </a:solidFill>
              </a:rPr>
              <a:t>SK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/>
        </p:nvSpPr>
        <p:spPr>
          <a:xfrm>
            <a:off x="8293669" y="5016725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>
                    <a:lumMod val="50000"/>
                  </a:schemeClr>
                </a:solidFill>
              </a:rPr>
              <a:t>HU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85509" y="4826533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996633"/>
                </a:solidFill>
              </a:rPr>
              <a:t>PL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3B5799B7-E8D9-4950-AB6A-FC1F1BFD3C51}"/>
              </a:ext>
            </a:extLst>
          </p:cNvPr>
          <p:cNvSpPr txBox="1"/>
          <p:nvPr/>
        </p:nvSpPr>
        <p:spPr>
          <a:xfrm>
            <a:off x="8285509" y="4594744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/>
                </a:solidFill>
              </a:rPr>
              <a:t>CZ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14denního kumulativního počtu potvrzených případů onemocnění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8" name="TextovéPole 17"/>
          <p:cNvSpPr txBox="1"/>
          <p:nvPr/>
        </p:nvSpPr>
        <p:spPr>
          <a:xfrm>
            <a:off x="8860536" y="745072"/>
            <a:ext cx="318579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zejména rozdílné testovací strategie. Státy také různě </a:t>
            </a:r>
          </a:p>
          <a:p>
            <a:pPr algn="r"/>
            <a:r>
              <a:rPr lang="cs-CZ" sz="1400" i="1" dirty="0"/>
              <a:t>v čase aktualizují publikovaná data.</a:t>
            </a:r>
          </a:p>
        </p:txBody>
      </p:sp>
    </p:spTree>
    <p:extLst>
      <p:ext uri="{BB962C8B-B14F-4D97-AF65-F5344CB8AC3E}">
        <p14:creationId xmlns:p14="http://schemas.microsoft.com/office/powerpoint/2010/main" val="28646037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6.1. 2022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9693017"/>
              </p:ext>
            </p:extLst>
          </p:nvPr>
        </p:nvGraphicFramePr>
        <p:xfrm>
          <a:off x="1058400" y="986400"/>
          <a:ext cx="7679185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410404" y="3404665"/>
            <a:ext cx="4471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7 denní kumulativní počet případů onemocnění 100 tisíc osob</a:t>
            </a:r>
          </a:p>
        </p:txBody>
      </p:sp>
      <p:sp>
        <p:nvSpPr>
          <p:cNvPr id="13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Vývoj 7denního kumulativního počtu potvrzených případů onemocnění ve vybraných evropských zemích</a:t>
            </a:r>
            <a:endParaRPr lang="cs-CZ" sz="1700" dirty="0">
              <a:latin typeface="+mj-lt"/>
            </a:endParaRP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70847" y="1741514"/>
            <a:ext cx="2904485" cy="43812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vývoj </a:t>
            </a:r>
            <a:r>
              <a:rPr lang="cs-CZ" sz="1600" b="1" u="sng" dirty="0">
                <a:solidFill>
                  <a:schemeClr val="tx1"/>
                </a:solidFill>
              </a:rPr>
              <a:t>7denního kumulativního </a:t>
            </a:r>
            <a:r>
              <a:rPr lang="cs-CZ" sz="1600" dirty="0">
                <a:solidFill>
                  <a:schemeClr val="tx1"/>
                </a:solidFill>
              </a:rPr>
              <a:t>počtu potvrzených případů onemocnění od 1. týdne roku 2021 (4.1.—10.1.) 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</a:rPr>
              <a:t>do 52. týdne roku 2021 (27.12.—2.1.) </a:t>
            </a:r>
            <a:r>
              <a:rPr lang="cs-CZ" sz="1600" b="1" u="sng" dirty="0">
                <a:solidFill>
                  <a:schemeClr val="tx1"/>
                </a:solidFill>
              </a:rPr>
              <a:t>přepočítaného na 100 tisíc osob.</a:t>
            </a:r>
          </a:p>
          <a:p>
            <a:pPr algn="ctr"/>
            <a:endParaRPr lang="cs-CZ" sz="1600" b="1" u="sng" dirty="0">
              <a:solidFill>
                <a:schemeClr val="tx1"/>
              </a:solidFill>
            </a:endParaRPr>
          </a:p>
          <a:p>
            <a:pPr algn="ctr"/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potvrzených případů za 51. a 52. týden roku 2021, a proto byla u této země analýza provedena jen do 50. týdne roku 2021.</a:t>
            </a:r>
            <a:endParaRPr lang="cs-CZ" sz="1100" b="1" u="sng" dirty="0">
              <a:solidFill>
                <a:schemeClr val="tx1"/>
              </a:solidFill>
            </a:endParaRPr>
          </a:p>
        </p:txBody>
      </p:sp>
      <p:sp>
        <p:nvSpPr>
          <p:cNvPr id="18" name="TextovéPole 17"/>
          <p:cNvSpPr txBox="1"/>
          <p:nvPr/>
        </p:nvSpPr>
        <p:spPr>
          <a:xfrm>
            <a:off x="8860536" y="736609"/>
            <a:ext cx="318579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i="1" dirty="0"/>
              <a:t>Zveřejňované hodnoty a rozdíly mezi státy odrážejí zejména rozdílné testovací strategie. Státy také různě </a:t>
            </a:r>
          </a:p>
          <a:p>
            <a:pPr algn="r"/>
            <a:r>
              <a:rPr lang="cs-CZ" sz="1400" i="1" dirty="0"/>
              <a:t>v čase aktualizují publikovaná data.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819BC0D0-959D-4E8E-A71C-05A83CEEEA6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268577" y="4482131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3">
                    <a:lumMod val="50000"/>
                  </a:schemeClr>
                </a:solidFill>
              </a:rPr>
              <a:t>SK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89EBFAB1-1614-4ECE-A214-7AF399DB0350}"/>
              </a:ext>
            </a:extLst>
          </p:cNvPr>
          <p:cNvSpPr txBox="1"/>
          <p:nvPr/>
        </p:nvSpPr>
        <p:spPr>
          <a:xfrm>
            <a:off x="8268730" y="5058294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>
                    <a:lumMod val="50000"/>
                  </a:schemeClr>
                </a:solidFill>
              </a:rPr>
              <a:t>HU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B1AA9DE3-6FB8-4639-B002-0E7FCE4D52A6}"/>
              </a:ext>
            </a:extLst>
          </p:cNvPr>
          <p:cNvSpPr txBox="1"/>
          <p:nvPr/>
        </p:nvSpPr>
        <p:spPr>
          <a:xfrm>
            <a:off x="8260570" y="4868083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996633"/>
                </a:solidFill>
              </a:rPr>
              <a:t>PL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CB9D7D5B-AF10-44B6-8594-DAA0A2D6545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268772" y="4679862"/>
            <a:ext cx="63052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2"/>
                </a:solidFill>
              </a:rPr>
              <a:t>CZ</a:t>
            </a:r>
          </a:p>
        </p:txBody>
      </p:sp>
    </p:spTree>
    <p:extLst>
      <p:ext uri="{BB962C8B-B14F-4D97-AF65-F5344CB8AC3E}">
        <p14:creationId xmlns:p14="http://schemas.microsoft.com/office/powerpoint/2010/main" val="19710835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1330958" y="3264096"/>
            <a:ext cx="41323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% změna týdenního kumulativního počtu potvrzených případů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554588" y="6151018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Zdroj: ECDC, 6.1. 2022</a:t>
            </a:r>
          </a:p>
        </p:txBody>
      </p:sp>
      <p:sp>
        <p:nvSpPr>
          <p:cNvPr id="11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464683" cy="673200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+mj-lt"/>
              </a:rPr>
              <a:t>Procentuální změna týdenního kumulativního počtu potvrzených případů</a:t>
            </a:r>
          </a:p>
        </p:txBody>
      </p:sp>
      <p:sp>
        <p:nvSpPr>
          <p:cNvPr id="14" name="Zaoblený obdélník 5">
            <a:extLst>
              <a:ext uri="{FF2B5EF4-FFF2-40B4-BE49-F238E27FC236}">
                <a16:creationId xmlns:a16="http://schemas.microsoft.com/office/drawing/2014/main" id="{A85A7D49-36D3-4266-8802-2A2C7A4F0D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988551" y="2485506"/>
            <a:ext cx="2986781" cy="350042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Graf zobrazuje </a:t>
            </a:r>
            <a:r>
              <a:rPr lang="cs-CZ" sz="1600" b="1" u="sng" dirty="0">
                <a:solidFill>
                  <a:schemeClr val="tx1"/>
                </a:solidFill>
              </a:rPr>
              <a:t>% změnu týdenního kumulativního</a:t>
            </a:r>
            <a:r>
              <a:rPr lang="cs-CZ" sz="1600" dirty="0">
                <a:solidFill>
                  <a:schemeClr val="tx1"/>
                </a:solidFill>
              </a:rPr>
              <a:t> </a:t>
            </a:r>
            <a:r>
              <a:rPr lang="cs-CZ" sz="1600" b="1" u="sng" dirty="0">
                <a:solidFill>
                  <a:schemeClr val="tx1"/>
                </a:solidFill>
              </a:rPr>
              <a:t>počtu</a:t>
            </a:r>
            <a:r>
              <a:rPr lang="cs-CZ" sz="1600" dirty="0">
                <a:solidFill>
                  <a:schemeClr val="tx1"/>
                </a:solidFill>
              </a:rPr>
              <a:t> potvrzených případů onemocnění v 50. týdnu vs. 49. týdnu a 52. týdnu vs. 51. týdnu roku 2021.</a:t>
            </a:r>
          </a:p>
          <a:p>
            <a:pPr algn="ctr"/>
            <a:endParaRPr lang="cs-CZ" sz="1600" dirty="0">
              <a:solidFill>
                <a:schemeClr val="tx1"/>
              </a:solidFill>
            </a:endParaRPr>
          </a:p>
          <a:p>
            <a:pPr algn="ctr"/>
            <a:r>
              <a:rPr lang="cs-CZ" sz="1100" dirty="0">
                <a:solidFill>
                  <a:schemeClr val="tx1"/>
                </a:solidFill>
              </a:rPr>
              <a:t>Pozn.: U Velké Británie nejsou dostupné údaje o počtu potvrzených případů za 51. a 52. týden roku 2021, a proto nebyla tato země do analýzy zahrnuta.</a:t>
            </a:r>
          </a:p>
        </p:txBody>
      </p:sp>
      <p:graphicFrame>
        <p:nvGraphicFramePr>
          <p:cNvPr id="12" name="Zástupný symbol pro obsah 6">
            <a:extLst>
              <a:ext uri="{FF2B5EF4-FFF2-40B4-BE49-F238E27FC236}">
                <a16:creationId xmlns:a16="http://schemas.microsoft.com/office/drawing/2014/main" id="{F13BB43F-25A2-477B-B389-4C1E0C908283}"/>
              </a:ext>
            </a:extLst>
          </p:cNvPr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13133732"/>
              </p:ext>
            </p:extLst>
          </p:nvPr>
        </p:nvGraphicFramePr>
        <p:xfrm>
          <a:off x="1058400" y="985421"/>
          <a:ext cx="7678800" cy="54441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0" name="Obdélník 9"/>
          <p:cNvSpPr/>
          <p:nvPr>
            <p:custDataLst>
              <p:tags r:id="rId4"/>
            </p:custDataLst>
          </p:nvPr>
        </p:nvSpPr>
        <p:spPr>
          <a:xfrm rot="16200000">
            <a:off x="7833509" y="5882607"/>
            <a:ext cx="1301984" cy="25745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b="1" dirty="0">
                <a:solidFill>
                  <a:schemeClr val="accent2"/>
                </a:solidFill>
              </a:rPr>
              <a:t>Česká republika</a:t>
            </a:r>
          </a:p>
        </p:txBody>
      </p:sp>
      <p:sp>
        <p:nvSpPr>
          <p:cNvPr id="9" name="TextovéPole 8"/>
          <p:cNvSpPr txBox="1"/>
          <p:nvPr>
            <p:custDataLst>
              <p:tags r:id="rId5"/>
            </p:custDataLst>
          </p:nvPr>
        </p:nvSpPr>
        <p:spPr>
          <a:xfrm>
            <a:off x="8660504" y="964406"/>
            <a:ext cx="335369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>
                <a:solidFill>
                  <a:srgbClr val="C00000"/>
                </a:solidFill>
              </a:rPr>
              <a:t>Relativní změna v kumulativním počtu nově diagnostikovaných případů ukazuje na dynamiku šíření nákazy v čase. </a:t>
            </a:r>
          </a:p>
        </p:txBody>
      </p:sp>
    </p:spTree>
    <p:extLst>
      <p:ext uri="{BB962C8B-B14F-4D97-AF65-F5344CB8AC3E}">
        <p14:creationId xmlns:p14="http://schemas.microsoft.com/office/powerpoint/2010/main" val="20371787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cs-CZ" sz="4400" dirty="0">
                <a:latin typeface="+mj-lt"/>
              </a:rPr>
              <a:t>Hodnocení pandemie COVID-19 </a:t>
            </a:r>
            <a:br>
              <a:rPr lang="cs-CZ" sz="4400" dirty="0">
                <a:latin typeface="+mj-lt"/>
              </a:rPr>
            </a:br>
            <a:r>
              <a:rPr lang="cs-CZ" sz="4400" dirty="0">
                <a:latin typeface="+mj-lt"/>
              </a:rPr>
              <a:t>v mezinárodním srovnání 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19212" y="3693109"/>
            <a:ext cx="9553575" cy="1253795"/>
          </a:xfrm>
        </p:spPr>
        <p:txBody>
          <a:bodyPr>
            <a:normAutofit/>
          </a:bodyPr>
          <a:lstStyle/>
          <a:p>
            <a:r>
              <a:rPr lang="cs-CZ" sz="4800" b="1" dirty="0"/>
              <a:t>Počty testů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658368" y="4946904"/>
            <a:ext cx="10387584" cy="707886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000" b="1" dirty="0">
                <a:solidFill>
                  <a:schemeClr val="bg1"/>
                </a:solidFill>
              </a:rPr>
              <a:t>Počty nově vykázaných diagnóz závisí na počtech testů – nejednotnost strategií testování činí tato data mezinárodně téměř nesrovnatelná </a:t>
            </a:r>
          </a:p>
        </p:txBody>
      </p:sp>
    </p:spTree>
    <p:extLst>
      <p:ext uri="{BB962C8B-B14F-4D97-AF65-F5344CB8AC3E}">
        <p14:creationId xmlns:p14="http://schemas.microsoft.com/office/powerpoint/2010/main" val="35551120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web-sablona</Template>
  <TotalTime>19244</TotalTime>
  <Words>3868</Words>
  <Application>Microsoft Office PowerPoint</Application>
  <PresentationFormat>Širokoúhlá obrazovka</PresentationFormat>
  <Paragraphs>1121</Paragraphs>
  <Slides>31</Slides>
  <Notes>25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31</vt:i4>
      </vt:variant>
    </vt:vector>
  </HeadingPairs>
  <TitlesOfParts>
    <vt:vector size="35" baseType="lpstr">
      <vt:lpstr>Arial</vt:lpstr>
      <vt:lpstr>Arial (Základní text)</vt:lpstr>
      <vt:lpstr>Calibri</vt:lpstr>
      <vt:lpstr>Motiv Office</vt:lpstr>
      <vt:lpstr>Hodnocení pandemie COVID-19  v mezinárodním srovnání </vt:lpstr>
      <vt:lpstr>Seznam zkratek zemí EU, EHP a Velké Británie</vt:lpstr>
      <vt:lpstr>Hodnocení pandemie COVID-19  v mezinárodním srovnání </vt:lpstr>
      <vt:lpstr>V Evropě se epidemická situace zhoršuje</vt:lpstr>
      <vt:lpstr>Počet potvrzených případů onemocnění v zemích EU, EHP  a Velké Británii (14denní kumulativní počet)</vt:lpstr>
      <vt:lpstr>Vývoj 14denního kumulativního počtu potvrzených případů onemocnění ve vybraných evropských zemích</vt:lpstr>
      <vt:lpstr>Vývoj 7denního kumulativního počtu potvrzených případů onemocnění ve vybraných evropských zemích</vt:lpstr>
      <vt:lpstr>Procentuální změna týdenního kumulativního počtu potvrzených případů</vt:lpstr>
      <vt:lpstr>Hodnocení pandemie COVID-19  v mezinárodním srovnání </vt:lpstr>
      <vt:lpstr>Počet provedených testů v zemích EU a EHP</vt:lpstr>
      <vt:lpstr>Počet provedených testů v zemích EU a EHP  od 29.11. 2021 do 2.1. 2022</vt:lpstr>
      <vt:lpstr>Počet provedených testů v zemích EU a EHP  od začátku epidemie</vt:lpstr>
      <vt:lpstr>14denní podíl potvrzených případů z počtu provedených testů v zemích EU a EHP</vt:lpstr>
      <vt:lpstr>7denní podíl potvrzených případů z počtu provedených testů v zemích EU a EHP</vt:lpstr>
      <vt:lpstr>Vývoj podílu potvrzených případů z počtu provedených testů ve vybraných evropských zemích</vt:lpstr>
      <vt:lpstr>Hodnocení pandemie COVID-19  v mezinárodním srovnání </vt:lpstr>
      <vt:lpstr>Úmrtí – srovnání zemí řazeno dle kumulativního počtu na 100tis. </vt:lpstr>
      <vt:lpstr>Úmrtí – srovnání zemí řazeno dle 7denních počtů na 100tis.</vt:lpstr>
      <vt:lpstr>Úmrtí – srovnání zemí řazeno dle 14denních počtů na 100tis</vt:lpstr>
      <vt:lpstr>Vývoj 14denního kumulativního počtu úmrtí  ve vybraných evropských zemích</vt:lpstr>
      <vt:lpstr>Vývoj 7denního kumulativního počtu úmrtí ve vybraných evropských zemích</vt:lpstr>
      <vt:lpstr>Poměr úmrtí a potvrzených případů onemocnění v zemích EU, EHP a Velké Británii od začátku epidemie</vt:lpstr>
      <vt:lpstr>Hodnocení pandemie COVID-19  v mezinárodním srovnání </vt:lpstr>
      <vt:lpstr>Podíl osob s vykázaným očkováním 1. dávkou v zemích EU a EHP</vt:lpstr>
      <vt:lpstr>Podíl osob s vykázaným očkováním 1. dávkou v zemích EU a EHP</vt:lpstr>
      <vt:lpstr>Podíl osob s vykázaným úplným očkováním v zemích EU a EHP</vt:lpstr>
      <vt:lpstr>Podíl osob s vykázaným úplným očkováním v zemích EU a EHP</vt:lpstr>
      <vt:lpstr>Srovnání podílů osob s vykázaným očkováním 1. dávkou a osob s vykázaným úplným očkováním v zemích EU a EHP</vt:lpstr>
      <vt:lpstr>Podíl osob s vykázaným očkováním posilující dávkou v zemích EU a EHP</vt:lpstr>
      <vt:lpstr>Podíl osob s vykázaným očkováním posilující dávkou v zemích EU a EHP</vt:lpstr>
      <vt:lpstr>Srovnání podílů osob s vykázaným úplným očkováním a osob s vykázaným očkováním posilující dávkou v zemích EU a EH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ývoj epidemie COVID-19 v ČR  Souhrn hlavních statistických ukazatelů dle regionů</dc:title>
  <dc:creator>Nováková Tereza Mgr.</dc:creator>
  <cp:lastModifiedBy>Dušek Ladislav prof. RNDr. Ph.D.</cp:lastModifiedBy>
  <cp:revision>1135</cp:revision>
  <dcterms:created xsi:type="dcterms:W3CDTF">2020-11-14T13:18:43Z</dcterms:created>
  <dcterms:modified xsi:type="dcterms:W3CDTF">2022-01-11T22:19:14Z</dcterms:modified>
</cp:coreProperties>
</file>